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diagrams/colors8.xml" ContentType="application/vnd.openxmlformats-officedocument.drawingml.diagramColors+xml"/>
  <Override PartName="/ppt/notesSlides/notesSlide30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9.xml" ContentType="application/vnd.openxmlformats-officedocument.drawingml.diagramData+xml"/>
  <Override PartName="/ppt/notesSlides/notesSlide26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notesSlides/notesSlide13.xml" ContentType="application/vnd.openxmlformats-officedocument.presentationml.notesSlide+xml"/>
  <Override PartName="/ppt/diagrams/data7.xml" ContentType="application/vnd.openxmlformats-officedocument.drawingml.diagramData+xml"/>
  <Override PartName="/ppt/notesSlides/notesSlide22.xml" ContentType="application/vnd.openxmlformats-officedocument.presentationml.notesSlide+xml"/>
  <Override PartName="/ppt/diagrams/colors9.xml" ContentType="application/vnd.openxmlformats-officedocument.drawingml.diagramColors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notesSlides/notesSlide2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1"/>
  </p:sldMasterIdLst>
  <p:notesMasterIdLst>
    <p:notesMasterId r:id="rId32"/>
  </p:notesMasterIdLst>
  <p:handoutMasterIdLst>
    <p:handoutMasterId r:id="rId33"/>
  </p:handoutMasterIdLst>
  <p:sldIdLst>
    <p:sldId id="329" r:id="rId2"/>
    <p:sldId id="369" r:id="rId3"/>
    <p:sldId id="367" r:id="rId4"/>
    <p:sldId id="357" r:id="rId5"/>
    <p:sldId id="371" r:id="rId6"/>
    <p:sldId id="360" r:id="rId7"/>
    <p:sldId id="296" r:id="rId8"/>
    <p:sldId id="356" r:id="rId9"/>
    <p:sldId id="361" r:id="rId10"/>
    <p:sldId id="350" r:id="rId11"/>
    <p:sldId id="263" r:id="rId12"/>
    <p:sldId id="324" r:id="rId13"/>
    <p:sldId id="365" r:id="rId14"/>
    <p:sldId id="325" r:id="rId15"/>
    <p:sldId id="326" r:id="rId16"/>
    <p:sldId id="314" r:id="rId17"/>
    <p:sldId id="339" r:id="rId18"/>
    <p:sldId id="355" r:id="rId19"/>
    <p:sldId id="363" r:id="rId20"/>
    <p:sldId id="340" r:id="rId21"/>
    <p:sldId id="343" r:id="rId22"/>
    <p:sldId id="351" r:id="rId23"/>
    <p:sldId id="362" r:id="rId24"/>
    <p:sldId id="338" r:id="rId25"/>
    <p:sldId id="366" r:id="rId26"/>
    <p:sldId id="374" r:id="rId27"/>
    <p:sldId id="373" r:id="rId28"/>
    <p:sldId id="354" r:id="rId29"/>
    <p:sldId id="368" r:id="rId30"/>
    <p:sldId id="372" r:id="rId31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6E666"/>
    <a:srgbClr val="FC7E30"/>
    <a:srgbClr val="E8EFF4"/>
    <a:srgbClr val="3A6D72"/>
    <a:srgbClr val="D20000"/>
    <a:srgbClr val="229285"/>
    <a:srgbClr val="EEEEEE"/>
    <a:srgbClr val="E6E6E6"/>
    <a:srgbClr val="DBE4E5"/>
    <a:srgbClr val="DDE1E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14" autoAdjust="0"/>
    <p:restoredTop sz="81541" autoAdjust="0"/>
  </p:normalViewPr>
  <p:slideViewPr>
    <p:cSldViewPr>
      <p:cViewPr varScale="1">
        <p:scale>
          <a:sx n="56" d="100"/>
          <a:sy n="56" d="100"/>
        </p:scale>
        <p:origin x="-177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586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88701B-7246-4248-8CA3-0F1C124ABC50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C4AFE52-5530-46B5-A61A-618257E89A11}">
      <dgm:prSet phldrT="[Texte]" custT="1"/>
      <dgm:spPr/>
      <dgm:t>
        <a:bodyPr anchor="t"/>
        <a:lstStyle/>
        <a:p>
          <a:r>
            <a:rPr lang="fr-FR" sz="1600" b="0" u="none" baseline="0" dirty="0" smtClean="0"/>
            <a:t>Chance des cartes correctes &gt;= chance des cartes erronées</a:t>
          </a:r>
          <a:endParaRPr lang="fr-FR" sz="1600" b="0" u="none" baseline="0" dirty="0"/>
        </a:p>
      </dgm:t>
    </dgm:pt>
    <dgm:pt modelId="{2336A41E-525E-445E-A22B-F1B0CCD03166}" type="parTrans" cxnId="{9C95B9F6-3476-46D7-B0D7-968F514B6370}">
      <dgm:prSet/>
      <dgm:spPr/>
      <dgm:t>
        <a:bodyPr/>
        <a:lstStyle/>
        <a:p>
          <a:endParaRPr lang="fr-FR"/>
        </a:p>
      </dgm:t>
    </dgm:pt>
    <dgm:pt modelId="{3152153D-9CC7-47A5-981F-22053B70E765}" type="sibTrans" cxnId="{9C95B9F6-3476-46D7-B0D7-968F514B6370}">
      <dgm:prSet/>
      <dgm:spPr/>
      <dgm:t>
        <a:bodyPr/>
        <a:lstStyle/>
        <a:p>
          <a:endParaRPr lang="fr-FR"/>
        </a:p>
      </dgm:t>
    </dgm:pt>
    <dgm:pt modelId="{7865F824-947D-4A79-9269-DD80A582F3D6}" type="pres">
      <dgm:prSet presAssocID="{7488701B-7246-4248-8CA3-0F1C124ABC50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FDB4680-CAA1-4EC5-B95F-D8DD2525BAA3}" type="pres">
      <dgm:prSet presAssocID="{7488701B-7246-4248-8CA3-0F1C124ABC50}" presName="arrow" presStyleLbl="bgShp" presStyleIdx="0" presStyleCnt="1" custScaleX="117647" custLinFactNeighborX="0" custLinFactNeighborY="-1247"/>
      <dgm:spPr/>
    </dgm:pt>
    <dgm:pt modelId="{DD4B7D63-5FCA-4EA4-B23D-387AA2E0C82F}" type="pres">
      <dgm:prSet presAssocID="{7488701B-7246-4248-8CA3-0F1C124ABC50}" presName="linearProcess" presStyleCnt="0"/>
      <dgm:spPr/>
    </dgm:pt>
    <dgm:pt modelId="{65D9E024-856E-405E-871B-FA57FCD765CF}" type="pres">
      <dgm:prSet presAssocID="{6C4AFE52-5530-46B5-A61A-618257E89A11}" presName="textNode" presStyleLbl="node1" presStyleIdx="0" presStyleCnt="1" custScaleX="80957" custScaleY="46015" custLinFactNeighborX="72643" custLinFactNeighborY="3258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2C4AA84-1066-4E69-8A95-4A5C398C590A}" type="presOf" srcId="{6C4AFE52-5530-46B5-A61A-618257E89A11}" destId="{65D9E024-856E-405E-871B-FA57FCD765CF}" srcOrd="0" destOrd="0" presId="urn:microsoft.com/office/officeart/2005/8/layout/hProcess9"/>
    <dgm:cxn modelId="{9C95B9F6-3476-46D7-B0D7-968F514B6370}" srcId="{7488701B-7246-4248-8CA3-0F1C124ABC50}" destId="{6C4AFE52-5530-46B5-A61A-618257E89A11}" srcOrd="0" destOrd="0" parTransId="{2336A41E-525E-445E-A22B-F1B0CCD03166}" sibTransId="{3152153D-9CC7-47A5-981F-22053B70E765}"/>
    <dgm:cxn modelId="{6E161BB9-D953-43D6-B964-7988000F8246}" type="presOf" srcId="{7488701B-7246-4248-8CA3-0F1C124ABC50}" destId="{7865F824-947D-4A79-9269-DD80A582F3D6}" srcOrd="0" destOrd="0" presId="urn:microsoft.com/office/officeart/2005/8/layout/hProcess9"/>
    <dgm:cxn modelId="{875B8B12-B656-47AA-B809-961EF9A511FD}" type="presParOf" srcId="{7865F824-947D-4A79-9269-DD80A582F3D6}" destId="{9FDB4680-CAA1-4EC5-B95F-D8DD2525BAA3}" srcOrd="0" destOrd="0" presId="urn:microsoft.com/office/officeart/2005/8/layout/hProcess9"/>
    <dgm:cxn modelId="{3A76D8A9-8265-4766-83A4-740866433C8B}" type="presParOf" srcId="{7865F824-947D-4A79-9269-DD80A582F3D6}" destId="{DD4B7D63-5FCA-4EA4-B23D-387AA2E0C82F}" srcOrd="1" destOrd="0" presId="urn:microsoft.com/office/officeart/2005/8/layout/hProcess9"/>
    <dgm:cxn modelId="{90CFB05A-43D1-4DC3-BCC0-ECF91E422705}" type="presParOf" srcId="{DD4B7D63-5FCA-4EA4-B23D-387AA2E0C82F}" destId="{65D9E024-856E-405E-871B-FA57FCD765CF}" srcOrd="0" destOrd="0" presId="urn:microsoft.com/office/officeart/2005/8/layout/hProcess9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8787414-E997-4B11-B7AA-993019679280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B442F3F-4D6B-4B28-995B-896175913CD9}">
      <dgm:prSet phldrT="[Texte]"/>
      <dgm:spPr/>
      <dgm:t>
        <a:bodyPr/>
        <a:lstStyle/>
        <a:p>
          <a:r>
            <a:rPr lang="fr-FR" dirty="0" smtClean="0"/>
            <a:t>1</a:t>
          </a:r>
          <a:endParaRPr lang="fr-FR" dirty="0"/>
        </a:p>
      </dgm:t>
    </dgm:pt>
    <dgm:pt modelId="{106C598A-170B-46C1-810E-F99F295952DA}" type="parTrans" cxnId="{A68D41D8-83C2-48B1-8586-4B41C0A027D5}">
      <dgm:prSet/>
      <dgm:spPr/>
      <dgm:t>
        <a:bodyPr/>
        <a:lstStyle/>
        <a:p>
          <a:endParaRPr lang="fr-FR"/>
        </a:p>
      </dgm:t>
    </dgm:pt>
    <dgm:pt modelId="{DAAA75E0-A135-4D68-909E-94F165BC4126}" type="sibTrans" cxnId="{A68D41D8-83C2-48B1-8586-4B41C0A027D5}">
      <dgm:prSet/>
      <dgm:spPr/>
      <dgm:t>
        <a:bodyPr/>
        <a:lstStyle/>
        <a:p>
          <a:endParaRPr lang="fr-FR"/>
        </a:p>
      </dgm:t>
    </dgm:pt>
    <dgm:pt modelId="{C9CACDEE-1E49-4AEC-B938-656B3AFC59A4}">
      <dgm:prSet phldrT="[Texte]"/>
      <dgm:spPr/>
      <dgm:t>
        <a:bodyPr/>
        <a:lstStyle/>
        <a:p>
          <a:r>
            <a:rPr lang="fr-FR" dirty="0" smtClean="0"/>
            <a:t>Event-B</a:t>
          </a:r>
          <a:endParaRPr lang="fr-FR" dirty="0"/>
        </a:p>
      </dgm:t>
    </dgm:pt>
    <dgm:pt modelId="{C6CFB10D-E029-43ED-A91A-E84B1A3B9005}" type="parTrans" cxnId="{C3FDB780-0A8C-4186-9785-F35A60DF36B7}">
      <dgm:prSet/>
      <dgm:spPr/>
      <dgm:t>
        <a:bodyPr/>
        <a:lstStyle/>
        <a:p>
          <a:endParaRPr lang="fr-FR"/>
        </a:p>
      </dgm:t>
    </dgm:pt>
    <dgm:pt modelId="{16717796-D017-4CE1-BEF2-B2D0A656CC37}" type="sibTrans" cxnId="{C3FDB780-0A8C-4186-9785-F35A60DF36B7}">
      <dgm:prSet/>
      <dgm:spPr/>
      <dgm:t>
        <a:bodyPr/>
        <a:lstStyle/>
        <a:p>
          <a:endParaRPr lang="fr-FR"/>
        </a:p>
      </dgm:t>
    </dgm:pt>
    <dgm:pt modelId="{899D9344-478D-4A65-965D-E2B5E4554DE7}">
      <dgm:prSet phldrT="[Texte]"/>
      <dgm:spPr/>
      <dgm:t>
        <a:bodyPr/>
        <a:lstStyle/>
        <a:p>
          <a:r>
            <a:rPr lang="fr-FR" dirty="0" smtClean="0"/>
            <a:t>2</a:t>
          </a:r>
          <a:endParaRPr lang="fr-FR" dirty="0"/>
        </a:p>
      </dgm:t>
    </dgm:pt>
    <dgm:pt modelId="{5CE8A5FD-0DFB-4DFB-BD4A-FB7063545B99}" type="parTrans" cxnId="{87FC7199-5CC1-41D0-BC2B-5229D1CEDF1C}">
      <dgm:prSet/>
      <dgm:spPr/>
      <dgm:t>
        <a:bodyPr/>
        <a:lstStyle/>
        <a:p>
          <a:endParaRPr lang="fr-FR"/>
        </a:p>
      </dgm:t>
    </dgm:pt>
    <dgm:pt modelId="{99C8B038-2BB1-4611-A906-C42C48B289E4}" type="sibTrans" cxnId="{87FC7199-5CC1-41D0-BC2B-5229D1CEDF1C}">
      <dgm:prSet/>
      <dgm:spPr/>
      <dgm:t>
        <a:bodyPr/>
        <a:lstStyle/>
        <a:p>
          <a:endParaRPr lang="fr-FR"/>
        </a:p>
      </dgm:t>
    </dgm:pt>
    <dgm:pt modelId="{B29D57F0-672D-4AAC-9678-A175B5685D54}">
      <dgm:prSet phldrT="[Texte]"/>
      <dgm:spPr/>
      <dgm:t>
        <a:bodyPr/>
        <a:lstStyle/>
        <a:p>
          <a:r>
            <a:rPr lang="fr-FR" dirty="0" smtClean="0"/>
            <a:t>Event-B Probabiliste</a:t>
          </a:r>
          <a:endParaRPr lang="fr-FR" dirty="0"/>
        </a:p>
      </dgm:t>
    </dgm:pt>
    <dgm:pt modelId="{65E591E6-521C-49EB-8B0B-4DE4E5C5315B}" type="parTrans" cxnId="{C7494049-6CBB-4DF2-9673-63F9E2F7A518}">
      <dgm:prSet/>
      <dgm:spPr/>
      <dgm:t>
        <a:bodyPr/>
        <a:lstStyle/>
        <a:p>
          <a:endParaRPr lang="fr-FR"/>
        </a:p>
      </dgm:t>
    </dgm:pt>
    <dgm:pt modelId="{0A731C22-41D7-4657-86E2-78A8CAB3D692}" type="sibTrans" cxnId="{C7494049-6CBB-4DF2-9673-63F9E2F7A518}">
      <dgm:prSet/>
      <dgm:spPr/>
      <dgm:t>
        <a:bodyPr/>
        <a:lstStyle/>
        <a:p>
          <a:endParaRPr lang="fr-FR"/>
        </a:p>
      </dgm:t>
    </dgm:pt>
    <dgm:pt modelId="{5B9C5F42-3D6A-4C67-B29E-D77367CD3E65}">
      <dgm:prSet phldrT="[Texte]"/>
      <dgm:spPr/>
      <dgm:t>
        <a:bodyPr/>
        <a:lstStyle/>
        <a:p>
          <a:r>
            <a:rPr lang="fr-FR" dirty="0" smtClean="0"/>
            <a:t>3</a:t>
          </a:r>
          <a:endParaRPr lang="fr-FR" dirty="0"/>
        </a:p>
      </dgm:t>
    </dgm:pt>
    <dgm:pt modelId="{FCF786D3-5D86-45FC-BAA1-219AF6F0BE6D}" type="parTrans" cxnId="{36C52BC1-6FE6-4F61-A619-9E1459911BC0}">
      <dgm:prSet/>
      <dgm:spPr/>
      <dgm:t>
        <a:bodyPr/>
        <a:lstStyle/>
        <a:p>
          <a:endParaRPr lang="fr-FR"/>
        </a:p>
      </dgm:t>
    </dgm:pt>
    <dgm:pt modelId="{11076A31-4F82-48BB-A593-FB21A5EBAEFB}" type="sibTrans" cxnId="{36C52BC1-6FE6-4F61-A619-9E1459911BC0}">
      <dgm:prSet/>
      <dgm:spPr/>
      <dgm:t>
        <a:bodyPr/>
        <a:lstStyle/>
        <a:p>
          <a:endParaRPr lang="fr-FR"/>
        </a:p>
      </dgm:t>
    </dgm:pt>
    <dgm:pt modelId="{90B25A18-4875-4EF7-8C20-5E9B52D79E05}">
      <dgm:prSet phldrT="[Texte]"/>
      <dgm:spPr/>
      <dgm:t>
        <a:bodyPr/>
        <a:lstStyle/>
        <a:p>
          <a:r>
            <a:rPr lang="fr-FR" dirty="0" smtClean="0"/>
            <a:t>Expression et vérification de nouvelles propriétés en Event-B probabiliste</a:t>
          </a:r>
          <a:endParaRPr lang="fr-FR" dirty="0"/>
        </a:p>
      </dgm:t>
    </dgm:pt>
    <dgm:pt modelId="{0D7A14F3-4FF8-4ED9-AE4D-CC0C2114E8DD}" type="parTrans" cxnId="{F4FB7F0F-DDBE-42CD-BFB3-706F373D91CB}">
      <dgm:prSet/>
      <dgm:spPr/>
      <dgm:t>
        <a:bodyPr/>
        <a:lstStyle/>
        <a:p>
          <a:endParaRPr lang="fr-FR"/>
        </a:p>
      </dgm:t>
    </dgm:pt>
    <dgm:pt modelId="{73D39108-B0CA-4243-9A00-CF08CFD169DB}" type="sibTrans" cxnId="{F4FB7F0F-DDBE-42CD-BFB3-706F373D91CB}">
      <dgm:prSet/>
      <dgm:spPr/>
      <dgm:t>
        <a:bodyPr/>
        <a:lstStyle/>
        <a:p>
          <a:endParaRPr lang="fr-FR"/>
        </a:p>
      </dgm:t>
    </dgm:pt>
    <dgm:pt modelId="{30915061-5EED-4732-955C-1C0674692002}">
      <dgm:prSet phldrT="[Texte]"/>
      <dgm:spPr/>
      <dgm:t>
        <a:bodyPr/>
        <a:lstStyle/>
        <a:p>
          <a:r>
            <a:rPr lang="fr-FR" dirty="0" smtClean="0"/>
            <a:t>4</a:t>
          </a:r>
          <a:endParaRPr lang="fr-FR" dirty="0"/>
        </a:p>
      </dgm:t>
    </dgm:pt>
    <dgm:pt modelId="{84D71E25-DAEB-4FF2-BD1A-177C6AD0614F}" type="parTrans" cxnId="{E838F1C9-2AD8-4010-9481-65F444380D76}">
      <dgm:prSet/>
      <dgm:spPr/>
      <dgm:t>
        <a:bodyPr/>
        <a:lstStyle/>
        <a:p>
          <a:endParaRPr lang="fr-FR"/>
        </a:p>
      </dgm:t>
    </dgm:pt>
    <dgm:pt modelId="{7438BE6A-A8EC-4ABF-8D70-0B2BE05FE2F7}" type="sibTrans" cxnId="{E838F1C9-2AD8-4010-9481-65F444380D76}">
      <dgm:prSet/>
      <dgm:spPr/>
      <dgm:t>
        <a:bodyPr/>
        <a:lstStyle/>
        <a:p>
          <a:endParaRPr lang="fr-FR"/>
        </a:p>
      </dgm:t>
    </dgm:pt>
    <dgm:pt modelId="{659C73E5-ABDA-41A9-AD17-D93D0EA6E28A}">
      <dgm:prSet/>
      <dgm:spPr/>
      <dgm:t>
        <a:bodyPr/>
        <a:lstStyle/>
        <a:p>
          <a:r>
            <a:rPr lang="fr-FR" dirty="0" smtClean="0"/>
            <a:t>Raisonnement sur des cas réels</a:t>
          </a:r>
          <a:endParaRPr lang="fr-FR" dirty="0"/>
        </a:p>
      </dgm:t>
    </dgm:pt>
    <dgm:pt modelId="{8660CB76-F32F-4E13-A1D6-219AC89080C5}" type="parTrans" cxnId="{09F9F747-A3C6-4E89-9651-5D21A7EAFECF}">
      <dgm:prSet/>
      <dgm:spPr/>
      <dgm:t>
        <a:bodyPr/>
        <a:lstStyle/>
        <a:p>
          <a:endParaRPr lang="fr-FR"/>
        </a:p>
      </dgm:t>
    </dgm:pt>
    <dgm:pt modelId="{52C2C526-E9C0-4402-B5A1-65ABD390649C}" type="sibTrans" cxnId="{09F9F747-A3C6-4E89-9651-5D21A7EAFECF}">
      <dgm:prSet/>
      <dgm:spPr/>
      <dgm:t>
        <a:bodyPr/>
        <a:lstStyle/>
        <a:p>
          <a:endParaRPr lang="fr-FR"/>
        </a:p>
      </dgm:t>
    </dgm:pt>
    <dgm:pt modelId="{B5457F7B-E48C-4D6A-BA02-C3EA60B17482}" type="pres">
      <dgm:prSet presAssocID="{B8787414-E997-4B11-B7AA-99301967928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42418B9-B29C-4363-8BB6-625832574539}" type="pres">
      <dgm:prSet presAssocID="{8B442F3F-4D6B-4B28-995B-896175913CD9}" presName="composite" presStyleCnt="0"/>
      <dgm:spPr/>
    </dgm:pt>
    <dgm:pt modelId="{A4B58EAD-C610-46E0-B833-2C195D1DF671}" type="pres">
      <dgm:prSet presAssocID="{8B442F3F-4D6B-4B28-995B-896175913CD9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9E484EB-EB6A-4C5A-8AEF-39911D89FDE2}" type="pres">
      <dgm:prSet presAssocID="{8B442F3F-4D6B-4B28-995B-896175913CD9}" presName="descendantText" presStyleLbl="alignAcc1" presStyleIdx="0" presStyleCnt="4" custLinFactNeighborX="-60" custLinFactNeighborY="-983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AEF7AFD-C54F-495E-A428-625D937D5B1A}" type="pres">
      <dgm:prSet presAssocID="{DAAA75E0-A135-4D68-909E-94F165BC4126}" presName="sp" presStyleCnt="0"/>
      <dgm:spPr/>
    </dgm:pt>
    <dgm:pt modelId="{44BEAE04-7107-4F4B-961D-7E02BCB483A5}" type="pres">
      <dgm:prSet presAssocID="{899D9344-478D-4A65-965D-E2B5E4554DE7}" presName="composite" presStyleCnt="0"/>
      <dgm:spPr/>
    </dgm:pt>
    <dgm:pt modelId="{4B0653CE-F19E-456B-8587-953E2332269C}" type="pres">
      <dgm:prSet presAssocID="{899D9344-478D-4A65-965D-E2B5E4554DE7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1713255-EABB-456F-AB90-B265B2F66CAA}" type="pres">
      <dgm:prSet presAssocID="{899D9344-478D-4A65-965D-E2B5E4554DE7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966195-232A-49C1-A835-64E8D55EE51F}" type="pres">
      <dgm:prSet presAssocID="{99C8B038-2BB1-4611-A906-C42C48B289E4}" presName="sp" presStyleCnt="0"/>
      <dgm:spPr/>
    </dgm:pt>
    <dgm:pt modelId="{D0B10EB4-E68C-49B5-8590-303C9678699E}" type="pres">
      <dgm:prSet presAssocID="{5B9C5F42-3D6A-4C67-B29E-D77367CD3E65}" presName="composite" presStyleCnt="0"/>
      <dgm:spPr/>
    </dgm:pt>
    <dgm:pt modelId="{41D47788-4C9B-4409-B640-98B10FE60AE5}" type="pres">
      <dgm:prSet presAssocID="{5B9C5F42-3D6A-4C67-B29E-D77367CD3E65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82E5734-2E68-487B-A873-3AD92DD6995D}" type="pres">
      <dgm:prSet presAssocID="{5B9C5F42-3D6A-4C67-B29E-D77367CD3E65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4252A9D-35F4-4CCC-81F2-315935B1CDD9}" type="pres">
      <dgm:prSet presAssocID="{11076A31-4F82-48BB-A593-FB21A5EBAEFB}" presName="sp" presStyleCnt="0"/>
      <dgm:spPr/>
    </dgm:pt>
    <dgm:pt modelId="{89B1F33A-343F-4613-B8A5-C805C0E7CD19}" type="pres">
      <dgm:prSet presAssocID="{30915061-5EED-4732-955C-1C0674692002}" presName="composite" presStyleCnt="0"/>
      <dgm:spPr/>
    </dgm:pt>
    <dgm:pt modelId="{60D371C7-A72D-4DFC-9D44-D9DEF35EFECC}" type="pres">
      <dgm:prSet presAssocID="{30915061-5EED-4732-955C-1C0674692002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5553605-B35B-4AA9-B3E0-2AEF26614C3D}" type="pres">
      <dgm:prSet presAssocID="{30915061-5EED-4732-955C-1C0674692002}" presName="descendantText" presStyleLbl="alignAcc1" presStyleIdx="3" presStyleCnt="4" custLinFactNeighborX="-140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CC01AD5-116B-4A94-9EF1-7C2A1EF4BE87}" type="presOf" srcId="{659C73E5-ABDA-41A9-AD17-D93D0EA6E28A}" destId="{35553605-B35B-4AA9-B3E0-2AEF26614C3D}" srcOrd="0" destOrd="0" presId="urn:microsoft.com/office/officeart/2005/8/layout/chevron2"/>
    <dgm:cxn modelId="{7B903BB5-E45F-4DCF-AE0E-82F0CBBBCB05}" type="presOf" srcId="{5B9C5F42-3D6A-4C67-B29E-D77367CD3E65}" destId="{41D47788-4C9B-4409-B640-98B10FE60AE5}" srcOrd="0" destOrd="0" presId="urn:microsoft.com/office/officeart/2005/8/layout/chevron2"/>
    <dgm:cxn modelId="{49C38EDC-7950-443E-AF16-3E54948CA3B2}" type="presOf" srcId="{30915061-5EED-4732-955C-1C0674692002}" destId="{60D371C7-A72D-4DFC-9D44-D9DEF35EFECC}" srcOrd="0" destOrd="0" presId="urn:microsoft.com/office/officeart/2005/8/layout/chevron2"/>
    <dgm:cxn modelId="{C7494049-6CBB-4DF2-9673-63F9E2F7A518}" srcId="{899D9344-478D-4A65-965D-E2B5E4554DE7}" destId="{B29D57F0-672D-4AAC-9678-A175B5685D54}" srcOrd="0" destOrd="0" parTransId="{65E591E6-521C-49EB-8B0B-4DE4E5C5315B}" sibTransId="{0A731C22-41D7-4657-86E2-78A8CAB3D692}"/>
    <dgm:cxn modelId="{676C9587-D85A-43AD-A9D6-5698C417AA4F}" type="presOf" srcId="{B8787414-E997-4B11-B7AA-993019679280}" destId="{B5457F7B-E48C-4D6A-BA02-C3EA60B17482}" srcOrd="0" destOrd="0" presId="urn:microsoft.com/office/officeart/2005/8/layout/chevron2"/>
    <dgm:cxn modelId="{1DCC77BA-B58B-40A5-B480-1B5F7B219441}" type="presOf" srcId="{C9CACDEE-1E49-4AEC-B938-656B3AFC59A4}" destId="{A9E484EB-EB6A-4C5A-8AEF-39911D89FDE2}" srcOrd="0" destOrd="0" presId="urn:microsoft.com/office/officeart/2005/8/layout/chevron2"/>
    <dgm:cxn modelId="{87FC7199-5CC1-41D0-BC2B-5229D1CEDF1C}" srcId="{B8787414-E997-4B11-B7AA-993019679280}" destId="{899D9344-478D-4A65-965D-E2B5E4554DE7}" srcOrd="1" destOrd="0" parTransId="{5CE8A5FD-0DFB-4DFB-BD4A-FB7063545B99}" sibTransId="{99C8B038-2BB1-4611-A906-C42C48B289E4}"/>
    <dgm:cxn modelId="{5F5335D5-501E-4BAF-A662-84E1A00A2BE6}" type="presOf" srcId="{90B25A18-4875-4EF7-8C20-5E9B52D79E05}" destId="{582E5734-2E68-487B-A873-3AD92DD6995D}" srcOrd="0" destOrd="0" presId="urn:microsoft.com/office/officeart/2005/8/layout/chevron2"/>
    <dgm:cxn modelId="{E42FF03E-DE5A-4890-8D91-C9B14AA35A57}" type="presOf" srcId="{8B442F3F-4D6B-4B28-995B-896175913CD9}" destId="{A4B58EAD-C610-46E0-B833-2C195D1DF671}" srcOrd="0" destOrd="0" presId="urn:microsoft.com/office/officeart/2005/8/layout/chevron2"/>
    <dgm:cxn modelId="{8B058CF9-0BF4-4C49-9067-6F5A681EC7AC}" type="presOf" srcId="{899D9344-478D-4A65-965D-E2B5E4554DE7}" destId="{4B0653CE-F19E-456B-8587-953E2332269C}" srcOrd="0" destOrd="0" presId="urn:microsoft.com/office/officeart/2005/8/layout/chevron2"/>
    <dgm:cxn modelId="{36C52BC1-6FE6-4F61-A619-9E1459911BC0}" srcId="{B8787414-E997-4B11-B7AA-993019679280}" destId="{5B9C5F42-3D6A-4C67-B29E-D77367CD3E65}" srcOrd="2" destOrd="0" parTransId="{FCF786D3-5D86-45FC-BAA1-219AF6F0BE6D}" sibTransId="{11076A31-4F82-48BB-A593-FB21A5EBAEFB}"/>
    <dgm:cxn modelId="{F4FB7F0F-DDBE-42CD-BFB3-706F373D91CB}" srcId="{5B9C5F42-3D6A-4C67-B29E-D77367CD3E65}" destId="{90B25A18-4875-4EF7-8C20-5E9B52D79E05}" srcOrd="0" destOrd="0" parTransId="{0D7A14F3-4FF8-4ED9-AE4D-CC0C2114E8DD}" sibTransId="{73D39108-B0CA-4243-9A00-CF08CFD169DB}"/>
    <dgm:cxn modelId="{09F9F747-A3C6-4E89-9651-5D21A7EAFECF}" srcId="{30915061-5EED-4732-955C-1C0674692002}" destId="{659C73E5-ABDA-41A9-AD17-D93D0EA6E28A}" srcOrd="0" destOrd="0" parTransId="{8660CB76-F32F-4E13-A1D6-219AC89080C5}" sibTransId="{52C2C526-E9C0-4402-B5A1-65ABD390649C}"/>
    <dgm:cxn modelId="{A68D41D8-83C2-48B1-8586-4B41C0A027D5}" srcId="{B8787414-E997-4B11-B7AA-993019679280}" destId="{8B442F3F-4D6B-4B28-995B-896175913CD9}" srcOrd="0" destOrd="0" parTransId="{106C598A-170B-46C1-810E-F99F295952DA}" sibTransId="{DAAA75E0-A135-4D68-909E-94F165BC4126}"/>
    <dgm:cxn modelId="{E838F1C9-2AD8-4010-9481-65F444380D76}" srcId="{B8787414-E997-4B11-B7AA-993019679280}" destId="{30915061-5EED-4732-955C-1C0674692002}" srcOrd="3" destOrd="0" parTransId="{84D71E25-DAEB-4FF2-BD1A-177C6AD0614F}" sibTransId="{7438BE6A-A8EC-4ABF-8D70-0B2BE05FE2F7}"/>
    <dgm:cxn modelId="{C80FF0C2-82B3-4B58-9BE3-A7360FD8F4D8}" type="presOf" srcId="{B29D57F0-672D-4AAC-9678-A175B5685D54}" destId="{21713255-EABB-456F-AB90-B265B2F66CAA}" srcOrd="0" destOrd="0" presId="urn:microsoft.com/office/officeart/2005/8/layout/chevron2"/>
    <dgm:cxn modelId="{C3FDB780-0A8C-4186-9785-F35A60DF36B7}" srcId="{8B442F3F-4D6B-4B28-995B-896175913CD9}" destId="{C9CACDEE-1E49-4AEC-B938-656B3AFC59A4}" srcOrd="0" destOrd="0" parTransId="{C6CFB10D-E029-43ED-A91A-E84B1A3B9005}" sibTransId="{16717796-D017-4CE1-BEF2-B2D0A656CC37}"/>
    <dgm:cxn modelId="{F8BB1EA2-D9C3-4016-A91D-1E0E63E6457E}" type="presParOf" srcId="{B5457F7B-E48C-4D6A-BA02-C3EA60B17482}" destId="{F42418B9-B29C-4363-8BB6-625832574539}" srcOrd="0" destOrd="0" presId="urn:microsoft.com/office/officeart/2005/8/layout/chevron2"/>
    <dgm:cxn modelId="{1DB41AB7-9C75-4B9F-A90F-64B30D927193}" type="presParOf" srcId="{F42418B9-B29C-4363-8BB6-625832574539}" destId="{A4B58EAD-C610-46E0-B833-2C195D1DF671}" srcOrd="0" destOrd="0" presId="urn:microsoft.com/office/officeart/2005/8/layout/chevron2"/>
    <dgm:cxn modelId="{27A9400B-4D4C-41A5-86CA-FA29267FC175}" type="presParOf" srcId="{F42418B9-B29C-4363-8BB6-625832574539}" destId="{A9E484EB-EB6A-4C5A-8AEF-39911D89FDE2}" srcOrd="1" destOrd="0" presId="urn:microsoft.com/office/officeart/2005/8/layout/chevron2"/>
    <dgm:cxn modelId="{1D4AB96B-7C9A-4690-A162-C5201FA6D50F}" type="presParOf" srcId="{B5457F7B-E48C-4D6A-BA02-C3EA60B17482}" destId="{0AEF7AFD-C54F-495E-A428-625D937D5B1A}" srcOrd="1" destOrd="0" presId="urn:microsoft.com/office/officeart/2005/8/layout/chevron2"/>
    <dgm:cxn modelId="{A25B2318-3463-4A37-BEC3-5E02841DD2B0}" type="presParOf" srcId="{B5457F7B-E48C-4D6A-BA02-C3EA60B17482}" destId="{44BEAE04-7107-4F4B-961D-7E02BCB483A5}" srcOrd="2" destOrd="0" presId="urn:microsoft.com/office/officeart/2005/8/layout/chevron2"/>
    <dgm:cxn modelId="{B2E0661E-9334-4FD8-A8BB-D997E0891BC6}" type="presParOf" srcId="{44BEAE04-7107-4F4B-961D-7E02BCB483A5}" destId="{4B0653CE-F19E-456B-8587-953E2332269C}" srcOrd="0" destOrd="0" presId="urn:microsoft.com/office/officeart/2005/8/layout/chevron2"/>
    <dgm:cxn modelId="{B108C1B0-1C63-48B0-B8EC-5F1420A0FB26}" type="presParOf" srcId="{44BEAE04-7107-4F4B-961D-7E02BCB483A5}" destId="{21713255-EABB-456F-AB90-B265B2F66CAA}" srcOrd="1" destOrd="0" presId="urn:microsoft.com/office/officeart/2005/8/layout/chevron2"/>
    <dgm:cxn modelId="{B08588E5-F38F-45C1-A11B-E880ACC4EDC9}" type="presParOf" srcId="{B5457F7B-E48C-4D6A-BA02-C3EA60B17482}" destId="{6E966195-232A-49C1-A835-64E8D55EE51F}" srcOrd="3" destOrd="0" presId="urn:microsoft.com/office/officeart/2005/8/layout/chevron2"/>
    <dgm:cxn modelId="{E503B50A-FA1B-4747-A298-E5C377FF7043}" type="presParOf" srcId="{B5457F7B-E48C-4D6A-BA02-C3EA60B17482}" destId="{D0B10EB4-E68C-49B5-8590-303C9678699E}" srcOrd="4" destOrd="0" presId="urn:microsoft.com/office/officeart/2005/8/layout/chevron2"/>
    <dgm:cxn modelId="{006FF141-B578-4861-BE8A-AABA08A60094}" type="presParOf" srcId="{D0B10EB4-E68C-49B5-8590-303C9678699E}" destId="{41D47788-4C9B-4409-B640-98B10FE60AE5}" srcOrd="0" destOrd="0" presId="urn:microsoft.com/office/officeart/2005/8/layout/chevron2"/>
    <dgm:cxn modelId="{355F07FA-65A1-4526-8016-BCABFA945C7A}" type="presParOf" srcId="{D0B10EB4-E68C-49B5-8590-303C9678699E}" destId="{582E5734-2E68-487B-A873-3AD92DD6995D}" srcOrd="1" destOrd="0" presId="urn:microsoft.com/office/officeart/2005/8/layout/chevron2"/>
    <dgm:cxn modelId="{7595EB74-884D-4938-A30B-4A8365C036EE}" type="presParOf" srcId="{B5457F7B-E48C-4D6A-BA02-C3EA60B17482}" destId="{64252A9D-35F4-4CCC-81F2-315935B1CDD9}" srcOrd="5" destOrd="0" presId="urn:microsoft.com/office/officeart/2005/8/layout/chevron2"/>
    <dgm:cxn modelId="{69A4CC55-CB5E-4C1A-8BA8-178E7511AF87}" type="presParOf" srcId="{B5457F7B-E48C-4D6A-BA02-C3EA60B17482}" destId="{89B1F33A-343F-4613-B8A5-C805C0E7CD19}" srcOrd="6" destOrd="0" presId="urn:microsoft.com/office/officeart/2005/8/layout/chevron2"/>
    <dgm:cxn modelId="{219CEDD3-9253-42FD-8649-F686545277B0}" type="presParOf" srcId="{89B1F33A-343F-4613-B8A5-C805C0E7CD19}" destId="{60D371C7-A72D-4DFC-9D44-D9DEF35EFECC}" srcOrd="0" destOrd="0" presId="urn:microsoft.com/office/officeart/2005/8/layout/chevron2"/>
    <dgm:cxn modelId="{DCD9A834-9576-4809-856F-AD14DFA8D9F4}" type="presParOf" srcId="{89B1F33A-343F-4613-B8A5-C805C0E7CD19}" destId="{35553605-B35B-4AA9-B3E0-2AEF26614C3D}" srcOrd="1" destOrd="0" presId="urn:microsoft.com/office/officeart/2005/8/layout/chevron2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CDEDBE1-7A9F-446F-8485-DD367838D63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9C25B7F-675D-468A-83D5-B5D6A9BC9B9C}">
      <dgm:prSet phldrT="[Texte]" custT="1"/>
      <dgm:spPr/>
      <dgm:t>
        <a:bodyPr/>
        <a:lstStyle/>
        <a:p>
          <a:r>
            <a:rPr lang="fr-FR" sz="1800" dirty="0" smtClean="0"/>
            <a:t>Contexte</a:t>
          </a:r>
          <a:endParaRPr lang="fr-FR" sz="1800" dirty="0"/>
        </a:p>
      </dgm:t>
    </dgm:pt>
    <dgm:pt modelId="{BB685A16-1F7F-4AA7-B308-B3797DC71C6A}" type="parTrans" cxnId="{CC3B3572-1BEA-46AC-8642-36AA21281CA9}">
      <dgm:prSet/>
      <dgm:spPr/>
      <dgm:t>
        <a:bodyPr/>
        <a:lstStyle/>
        <a:p>
          <a:endParaRPr lang="fr-FR"/>
        </a:p>
      </dgm:t>
    </dgm:pt>
    <dgm:pt modelId="{946F699E-3987-4DC5-9100-4643B67BB841}" type="sibTrans" cxnId="{CC3B3572-1BEA-46AC-8642-36AA21281CA9}">
      <dgm:prSet/>
      <dgm:spPr/>
      <dgm:t>
        <a:bodyPr/>
        <a:lstStyle/>
        <a:p>
          <a:endParaRPr lang="fr-FR"/>
        </a:p>
      </dgm:t>
    </dgm:pt>
    <dgm:pt modelId="{8C00DDFC-9F11-430B-8B42-B0FC07D34BB4}">
      <dgm:prSet phldrT="[Texte]" custT="1"/>
      <dgm:spPr/>
      <dgm:t>
        <a:bodyPr/>
        <a:lstStyle/>
        <a:p>
          <a:r>
            <a:rPr lang="fr-FR" sz="1400" dirty="0" smtClean="0"/>
            <a:t>Ensembles</a:t>
          </a:r>
          <a:endParaRPr lang="fr-FR" sz="1400" dirty="0"/>
        </a:p>
      </dgm:t>
    </dgm:pt>
    <dgm:pt modelId="{1CBD4382-329F-4E01-869B-314A82189990}" type="parTrans" cxnId="{CF097F98-FAD2-4F62-BB9F-4A5B143AC2B5}">
      <dgm:prSet/>
      <dgm:spPr/>
      <dgm:t>
        <a:bodyPr/>
        <a:lstStyle/>
        <a:p>
          <a:endParaRPr lang="fr-FR"/>
        </a:p>
      </dgm:t>
    </dgm:pt>
    <dgm:pt modelId="{88BF8487-E42B-4951-A5F3-B96F798BA617}" type="sibTrans" cxnId="{CF097F98-FAD2-4F62-BB9F-4A5B143AC2B5}">
      <dgm:prSet/>
      <dgm:spPr/>
      <dgm:t>
        <a:bodyPr/>
        <a:lstStyle/>
        <a:p>
          <a:endParaRPr lang="fr-FR"/>
        </a:p>
      </dgm:t>
    </dgm:pt>
    <dgm:pt modelId="{9D21EE48-DFE7-467B-BEE6-A4267B48949E}">
      <dgm:prSet phldrT="[Texte]" custT="1"/>
      <dgm:spPr/>
      <dgm:t>
        <a:bodyPr/>
        <a:lstStyle/>
        <a:p>
          <a:r>
            <a:rPr lang="fr-FR" sz="1400" dirty="0" smtClean="0"/>
            <a:t>Constantes</a:t>
          </a:r>
          <a:endParaRPr lang="fr-FR" sz="1400" dirty="0"/>
        </a:p>
      </dgm:t>
    </dgm:pt>
    <dgm:pt modelId="{7736C33D-3B7C-49F9-B1C1-EB50AA730B0B}" type="parTrans" cxnId="{AD3F2CD8-351E-41B8-BE82-0F74B7476D55}">
      <dgm:prSet/>
      <dgm:spPr/>
      <dgm:t>
        <a:bodyPr/>
        <a:lstStyle/>
        <a:p>
          <a:endParaRPr lang="fr-FR"/>
        </a:p>
      </dgm:t>
    </dgm:pt>
    <dgm:pt modelId="{A901417D-5E09-45AE-BA71-B03712D74BEA}" type="sibTrans" cxnId="{AD3F2CD8-351E-41B8-BE82-0F74B7476D55}">
      <dgm:prSet/>
      <dgm:spPr/>
      <dgm:t>
        <a:bodyPr/>
        <a:lstStyle/>
        <a:p>
          <a:endParaRPr lang="fr-FR"/>
        </a:p>
      </dgm:t>
    </dgm:pt>
    <dgm:pt modelId="{65726EA5-AA93-487C-97A7-808699927CE1}">
      <dgm:prSet phldrT="[Texte]" custT="1"/>
      <dgm:spPr/>
      <dgm:t>
        <a:bodyPr/>
        <a:lstStyle/>
        <a:p>
          <a:r>
            <a:rPr lang="fr-FR" sz="1800" dirty="0" smtClean="0"/>
            <a:t>Machine</a:t>
          </a:r>
          <a:endParaRPr lang="fr-FR" sz="1800" dirty="0"/>
        </a:p>
      </dgm:t>
    </dgm:pt>
    <dgm:pt modelId="{CC4D0A72-C74B-4F75-8804-33F1D7D56CCE}" type="parTrans" cxnId="{A47BE571-6F24-45FA-8F19-904B1721BDD2}">
      <dgm:prSet/>
      <dgm:spPr/>
      <dgm:t>
        <a:bodyPr/>
        <a:lstStyle/>
        <a:p>
          <a:endParaRPr lang="fr-FR"/>
        </a:p>
      </dgm:t>
    </dgm:pt>
    <dgm:pt modelId="{4547CB7D-15FF-4AF0-B55F-F288599D5F31}" type="sibTrans" cxnId="{A47BE571-6F24-45FA-8F19-904B1721BDD2}">
      <dgm:prSet/>
      <dgm:spPr/>
      <dgm:t>
        <a:bodyPr/>
        <a:lstStyle/>
        <a:p>
          <a:endParaRPr lang="fr-FR"/>
        </a:p>
      </dgm:t>
    </dgm:pt>
    <dgm:pt modelId="{F9EE7989-FB2F-43E5-A09E-52CFD566C0F1}">
      <dgm:prSet phldrT="[Texte]" custT="1"/>
      <dgm:spPr/>
      <dgm:t>
        <a:bodyPr/>
        <a:lstStyle/>
        <a:p>
          <a:r>
            <a:rPr lang="fr-FR" sz="1400" i="0" smtClean="0"/>
            <a:t> Variables</a:t>
          </a:r>
          <a:endParaRPr lang="fr-FR" sz="1400" dirty="0"/>
        </a:p>
      </dgm:t>
    </dgm:pt>
    <dgm:pt modelId="{D799099C-D464-4393-8D07-84CEBDF55DA4}" type="parTrans" cxnId="{A06586A2-390F-423C-8250-83D42BC1F264}">
      <dgm:prSet/>
      <dgm:spPr/>
      <dgm:t>
        <a:bodyPr/>
        <a:lstStyle/>
        <a:p>
          <a:endParaRPr lang="fr-FR"/>
        </a:p>
      </dgm:t>
    </dgm:pt>
    <dgm:pt modelId="{6D8957BA-4BF4-4C16-9266-F79FB95B27FD}" type="sibTrans" cxnId="{A06586A2-390F-423C-8250-83D42BC1F264}">
      <dgm:prSet/>
      <dgm:spPr/>
      <dgm:t>
        <a:bodyPr/>
        <a:lstStyle/>
        <a:p>
          <a:endParaRPr lang="fr-FR"/>
        </a:p>
      </dgm:t>
    </dgm:pt>
    <dgm:pt modelId="{6A7BC04E-2409-4C44-A1E8-BD3DD331D5DD}">
      <dgm:prSet phldrT="[Texte]" custT="1"/>
      <dgm:spPr/>
      <dgm:t>
        <a:bodyPr/>
        <a:lstStyle/>
        <a:p>
          <a:r>
            <a:rPr lang="fr-FR" sz="1400" dirty="0" smtClean="0"/>
            <a:t>Axiomes</a:t>
          </a:r>
          <a:endParaRPr lang="fr-FR" sz="1400" dirty="0"/>
        </a:p>
      </dgm:t>
    </dgm:pt>
    <dgm:pt modelId="{B3E1E40B-509E-4C7B-94D9-B2A4E743F2C8}" type="parTrans" cxnId="{F590A490-92F7-4218-8A16-84998B6A6420}">
      <dgm:prSet/>
      <dgm:spPr/>
      <dgm:t>
        <a:bodyPr/>
        <a:lstStyle/>
        <a:p>
          <a:endParaRPr lang="fr-FR"/>
        </a:p>
      </dgm:t>
    </dgm:pt>
    <dgm:pt modelId="{F673B727-5F7A-4FF9-9A18-6BEAB7371D46}" type="sibTrans" cxnId="{F590A490-92F7-4218-8A16-84998B6A6420}">
      <dgm:prSet/>
      <dgm:spPr/>
      <dgm:t>
        <a:bodyPr/>
        <a:lstStyle/>
        <a:p>
          <a:endParaRPr lang="fr-FR"/>
        </a:p>
      </dgm:t>
    </dgm:pt>
    <dgm:pt modelId="{3CEDE75F-BA31-4B2A-BA39-A825EA5B4D2E}">
      <dgm:prSet phldrT="[Texte]" custT="1"/>
      <dgm:spPr/>
      <dgm:t>
        <a:bodyPr/>
        <a:lstStyle/>
        <a:p>
          <a:r>
            <a:rPr lang="fr-FR" sz="1400" dirty="0" smtClean="0"/>
            <a:t>Théorèmes</a:t>
          </a:r>
          <a:endParaRPr lang="fr-FR" sz="1400" dirty="0"/>
        </a:p>
      </dgm:t>
    </dgm:pt>
    <dgm:pt modelId="{32CAD6C1-26E9-414D-BCD9-3B0CDF6571FA}" type="parTrans" cxnId="{B09B7F8A-BCAA-4E61-A724-587204F05744}">
      <dgm:prSet/>
      <dgm:spPr/>
      <dgm:t>
        <a:bodyPr/>
        <a:lstStyle/>
        <a:p>
          <a:endParaRPr lang="fr-FR"/>
        </a:p>
      </dgm:t>
    </dgm:pt>
    <dgm:pt modelId="{0F356345-266D-4D7C-8B65-0D00058C6CB8}" type="sibTrans" cxnId="{B09B7F8A-BCAA-4E61-A724-587204F05744}">
      <dgm:prSet/>
      <dgm:spPr/>
      <dgm:t>
        <a:bodyPr/>
        <a:lstStyle/>
        <a:p>
          <a:endParaRPr lang="fr-FR"/>
        </a:p>
      </dgm:t>
    </dgm:pt>
    <dgm:pt modelId="{9671722F-C29E-4CCC-9676-C539E6EFAB43}">
      <dgm:prSet phldrT="[Texte]" custT="1"/>
      <dgm:spPr/>
      <dgm:t>
        <a:bodyPr/>
        <a:lstStyle/>
        <a:p>
          <a:endParaRPr lang="fr-FR" sz="1400" dirty="0"/>
        </a:p>
      </dgm:t>
    </dgm:pt>
    <dgm:pt modelId="{829FD74D-4F56-4261-93DA-4B91A75B1806}" type="parTrans" cxnId="{16E833FC-A9D3-412C-9694-D8DA892BDB03}">
      <dgm:prSet/>
      <dgm:spPr/>
      <dgm:t>
        <a:bodyPr/>
        <a:lstStyle/>
        <a:p>
          <a:endParaRPr lang="fr-FR"/>
        </a:p>
      </dgm:t>
    </dgm:pt>
    <dgm:pt modelId="{15B6B200-C41F-4CC6-B95C-3B65654BCCF0}" type="sibTrans" cxnId="{16E833FC-A9D3-412C-9694-D8DA892BDB03}">
      <dgm:prSet/>
      <dgm:spPr/>
      <dgm:t>
        <a:bodyPr/>
        <a:lstStyle/>
        <a:p>
          <a:endParaRPr lang="fr-FR"/>
        </a:p>
      </dgm:t>
    </dgm:pt>
    <dgm:pt modelId="{3B0D9DF1-C57F-44D8-89EE-6221834AA98D}">
      <dgm:prSet phldrT="[Texte]" custT="1"/>
      <dgm:spPr/>
      <dgm:t>
        <a:bodyPr/>
        <a:lstStyle/>
        <a:p>
          <a:r>
            <a:rPr lang="fr-FR" sz="1400" dirty="0" smtClean="0"/>
            <a:t>Invariants</a:t>
          </a:r>
          <a:endParaRPr lang="fr-FR" sz="1400" dirty="0"/>
        </a:p>
      </dgm:t>
    </dgm:pt>
    <dgm:pt modelId="{2A5B5B53-A6EB-4512-9EF1-9F9C93D82D87}" type="parTrans" cxnId="{60131FCE-0AF9-4F37-8C47-6226543155BF}">
      <dgm:prSet/>
      <dgm:spPr/>
      <dgm:t>
        <a:bodyPr/>
        <a:lstStyle/>
        <a:p>
          <a:endParaRPr lang="fr-FR"/>
        </a:p>
      </dgm:t>
    </dgm:pt>
    <dgm:pt modelId="{C3541FC8-1610-4A64-9DBB-98F904EEE530}" type="sibTrans" cxnId="{60131FCE-0AF9-4F37-8C47-6226543155BF}">
      <dgm:prSet/>
      <dgm:spPr/>
      <dgm:t>
        <a:bodyPr/>
        <a:lstStyle/>
        <a:p>
          <a:endParaRPr lang="fr-FR"/>
        </a:p>
      </dgm:t>
    </dgm:pt>
    <dgm:pt modelId="{1F3B4741-0DB1-46BC-BF7A-0B2FDDEC2642}">
      <dgm:prSet phldrT="[Texte]" custT="1"/>
      <dgm:spPr/>
      <dgm:t>
        <a:bodyPr/>
        <a:lstStyle/>
        <a:p>
          <a:endParaRPr lang="fr-FR" sz="1400" dirty="0"/>
        </a:p>
      </dgm:t>
    </dgm:pt>
    <dgm:pt modelId="{A3BBD04E-BC6D-41A2-88E1-6F6CA4323C21}" type="parTrans" cxnId="{5DA8F548-0FBB-441B-80BB-63FF90AC4BF3}">
      <dgm:prSet/>
      <dgm:spPr/>
      <dgm:t>
        <a:bodyPr/>
        <a:lstStyle/>
        <a:p>
          <a:endParaRPr lang="fr-FR"/>
        </a:p>
      </dgm:t>
    </dgm:pt>
    <dgm:pt modelId="{D7A50248-C348-4A14-A255-D3F9E1B45340}" type="sibTrans" cxnId="{5DA8F548-0FBB-441B-80BB-63FF90AC4BF3}">
      <dgm:prSet/>
      <dgm:spPr/>
      <dgm:t>
        <a:bodyPr/>
        <a:lstStyle/>
        <a:p>
          <a:endParaRPr lang="fr-FR"/>
        </a:p>
      </dgm:t>
    </dgm:pt>
    <dgm:pt modelId="{4A01B75E-D77C-4E00-9D9F-9643712C3827}">
      <dgm:prSet phldrT="[Texte]" custT="1"/>
      <dgm:spPr/>
      <dgm:t>
        <a:bodyPr/>
        <a:lstStyle/>
        <a:p>
          <a:r>
            <a:rPr lang="fr-FR" sz="1400" dirty="0" smtClean="0"/>
            <a:t>Théorèmes</a:t>
          </a:r>
          <a:endParaRPr lang="fr-FR" sz="1400" dirty="0"/>
        </a:p>
      </dgm:t>
    </dgm:pt>
    <dgm:pt modelId="{83BC28A8-05D8-4559-B8AF-69B2FFCDC641}" type="parTrans" cxnId="{21DF97E5-E6CA-4E35-B71C-F310C0D5CFD5}">
      <dgm:prSet/>
      <dgm:spPr/>
      <dgm:t>
        <a:bodyPr/>
        <a:lstStyle/>
        <a:p>
          <a:endParaRPr lang="fr-FR"/>
        </a:p>
      </dgm:t>
    </dgm:pt>
    <dgm:pt modelId="{33313510-7013-442B-B321-CC0AC8D26036}" type="sibTrans" cxnId="{21DF97E5-E6CA-4E35-B71C-F310C0D5CFD5}">
      <dgm:prSet/>
      <dgm:spPr/>
      <dgm:t>
        <a:bodyPr/>
        <a:lstStyle/>
        <a:p>
          <a:endParaRPr lang="fr-FR"/>
        </a:p>
      </dgm:t>
    </dgm:pt>
    <dgm:pt modelId="{5742F6C9-E26D-4327-BF9A-0194FFC413CB}">
      <dgm:prSet phldrT="[Texte]" custT="1"/>
      <dgm:spPr/>
      <dgm:t>
        <a:bodyPr/>
        <a:lstStyle/>
        <a:p>
          <a:r>
            <a:rPr lang="fr-FR" sz="1400" dirty="0" smtClean="0"/>
            <a:t> Evénements</a:t>
          </a:r>
          <a:endParaRPr lang="fr-FR" sz="1400" dirty="0"/>
        </a:p>
      </dgm:t>
    </dgm:pt>
    <dgm:pt modelId="{9F02CA1A-FA87-4BDA-8FD9-F26AF013B927}" type="parTrans" cxnId="{B159FFFD-8211-4300-AE4C-FE8B052A8A07}">
      <dgm:prSet/>
      <dgm:spPr/>
      <dgm:t>
        <a:bodyPr/>
        <a:lstStyle/>
        <a:p>
          <a:endParaRPr lang="fr-FR"/>
        </a:p>
      </dgm:t>
    </dgm:pt>
    <dgm:pt modelId="{91087CD4-7B43-4AE5-91BA-27AA5F35D694}" type="sibTrans" cxnId="{B159FFFD-8211-4300-AE4C-FE8B052A8A07}">
      <dgm:prSet/>
      <dgm:spPr/>
      <dgm:t>
        <a:bodyPr/>
        <a:lstStyle/>
        <a:p>
          <a:endParaRPr lang="fr-FR"/>
        </a:p>
      </dgm:t>
    </dgm:pt>
    <dgm:pt modelId="{6128823D-CFB9-43F1-95EF-B3245297FB51}" type="pres">
      <dgm:prSet presAssocID="{6CDEDBE1-7A9F-446F-8485-DD367838D63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8ECAA12F-84C9-4919-A507-D56267AE50FC}" type="pres">
      <dgm:prSet presAssocID="{19C25B7F-675D-468A-83D5-B5D6A9BC9B9C}" presName="linNode" presStyleCnt="0"/>
      <dgm:spPr/>
    </dgm:pt>
    <dgm:pt modelId="{AC199A31-6445-4F67-92A6-CA8552A9C5FC}" type="pres">
      <dgm:prSet presAssocID="{19C25B7F-675D-468A-83D5-B5D6A9BC9B9C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DBCCFFB-3CEC-46A9-A5D1-5C3E7AE16A84}" type="pres">
      <dgm:prSet presAssocID="{19C25B7F-675D-468A-83D5-B5D6A9BC9B9C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7C23BF9-AF73-49C6-9A85-46A0F0CC825E}" type="pres">
      <dgm:prSet presAssocID="{946F699E-3987-4DC5-9100-4643B67BB841}" presName="sp" presStyleCnt="0"/>
      <dgm:spPr/>
    </dgm:pt>
    <dgm:pt modelId="{40F812FD-72EC-48AC-A692-1EB082CE117B}" type="pres">
      <dgm:prSet presAssocID="{65726EA5-AA93-487C-97A7-808699927CE1}" presName="linNode" presStyleCnt="0"/>
      <dgm:spPr/>
    </dgm:pt>
    <dgm:pt modelId="{8AA6FD74-85F7-4115-8341-EB1DFCEDFCF0}" type="pres">
      <dgm:prSet presAssocID="{65726EA5-AA93-487C-97A7-808699927CE1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D392A59-2790-400A-869B-A86EFC974C6A}" type="pres">
      <dgm:prSet presAssocID="{65726EA5-AA93-487C-97A7-808699927CE1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6E833FC-A9D3-412C-9694-D8DA892BDB03}" srcId="{65726EA5-AA93-487C-97A7-808699927CE1}" destId="{9671722F-C29E-4CCC-9676-C539E6EFAB43}" srcOrd="5" destOrd="0" parTransId="{829FD74D-4F56-4261-93DA-4B91A75B1806}" sibTransId="{15B6B200-C41F-4CC6-B95C-3B65654BCCF0}"/>
    <dgm:cxn modelId="{CBD662F4-7872-457C-A0CA-1B9E6912F7A5}" type="presOf" srcId="{F9EE7989-FB2F-43E5-A09E-52CFD566C0F1}" destId="{AD392A59-2790-400A-869B-A86EFC974C6A}" srcOrd="0" destOrd="0" presId="urn:microsoft.com/office/officeart/2005/8/layout/vList5"/>
    <dgm:cxn modelId="{B09B7F8A-BCAA-4E61-A724-587204F05744}" srcId="{19C25B7F-675D-468A-83D5-B5D6A9BC9B9C}" destId="{3CEDE75F-BA31-4B2A-BA39-A825EA5B4D2E}" srcOrd="3" destOrd="0" parTransId="{32CAD6C1-26E9-414D-BCD9-3B0CDF6571FA}" sibTransId="{0F356345-266D-4D7C-8B65-0D00058C6CB8}"/>
    <dgm:cxn modelId="{47F75BC4-D186-4350-8462-8B0FC17859F2}" type="presOf" srcId="{9671722F-C29E-4CCC-9676-C539E6EFAB43}" destId="{AD392A59-2790-400A-869B-A86EFC974C6A}" srcOrd="0" destOrd="5" presId="urn:microsoft.com/office/officeart/2005/8/layout/vList5"/>
    <dgm:cxn modelId="{040A830A-38F3-4536-A941-1934797A2382}" type="presOf" srcId="{1F3B4741-0DB1-46BC-BF7A-0B2FDDEC2642}" destId="{AD392A59-2790-400A-869B-A86EFC974C6A}" srcOrd="0" destOrd="4" presId="urn:microsoft.com/office/officeart/2005/8/layout/vList5"/>
    <dgm:cxn modelId="{AD3F2CD8-351E-41B8-BE82-0F74B7476D55}" srcId="{19C25B7F-675D-468A-83D5-B5D6A9BC9B9C}" destId="{9D21EE48-DFE7-467B-BEE6-A4267B48949E}" srcOrd="1" destOrd="0" parTransId="{7736C33D-3B7C-49F9-B1C1-EB50AA730B0B}" sibTransId="{A901417D-5E09-45AE-BA71-B03712D74BEA}"/>
    <dgm:cxn modelId="{21DF97E5-E6CA-4E35-B71C-F310C0D5CFD5}" srcId="{65726EA5-AA93-487C-97A7-808699927CE1}" destId="{4A01B75E-D77C-4E00-9D9F-9643712C3827}" srcOrd="2" destOrd="0" parTransId="{83BC28A8-05D8-4559-B8AF-69B2FFCDC641}" sibTransId="{33313510-7013-442B-B321-CC0AC8D26036}"/>
    <dgm:cxn modelId="{CC3B3572-1BEA-46AC-8642-36AA21281CA9}" srcId="{6CDEDBE1-7A9F-446F-8485-DD367838D63B}" destId="{19C25B7F-675D-468A-83D5-B5D6A9BC9B9C}" srcOrd="0" destOrd="0" parTransId="{BB685A16-1F7F-4AA7-B308-B3797DC71C6A}" sibTransId="{946F699E-3987-4DC5-9100-4643B67BB841}"/>
    <dgm:cxn modelId="{569FA68A-A79D-4E9A-8A57-EDA17680D235}" type="presOf" srcId="{8C00DDFC-9F11-430B-8B42-B0FC07D34BB4}" destId="{3DBCCFFB-3CEC-46A9-A5D1-5C3E7AE16A84}" srcOrd="0" destOrd="0" presId="urn:microsoft.com/office/officeart/2005/8/layout/vList5"/>
    <dgm:cxn modelId="{BB93E8AA-059A-43FD-88B2-C27B23F13533}" type="presOf" srcId="{6A7BC04E-2409-4C44-A1E8-BD3DD331D5DD}" destId="{3DBCCFFB-3CEC-46A9-A5D1-5C3E7AE16A84}" srcOrd="0" destOrd="2" presId="urn:microsoft.com/office/officeart/2005/8/layout/vList5"/>
    <dgm:cxn modelId="{23D47313-7AFB-42E0-B417-585F836F3868}" type="presOf" srcId="{5742F6C9-E26D-4327-BF9A-0194FFC413CB}" destId="{AD392A59-2790-400A-869B-A86EFC974C6A}" srcOrd="0" destOrd="3" presId="urn:microsoft.com/office/officeart/2005/8/layout/vList5"/>
    <dgm:cxn modelId="{FB785645-3135-483C-95F4-A844F2829F6B}" type="presOf" srcId="{6CDEDBE1-7A9F-446F-8485-DD367838D63B}" destId="{6128823D-CFB9-43F1-95EF-B3245297FB51}" srcOrd="0" destOrd="0" presId="urn:microsoft.com/office/officeart/2005/8/layout/vList5"/>
    <dgm:cxn modelId="{F590A490-92F7-4218-8A16-84998B6A6420}" srcId="{19C25B7F-675D-468A-83D5-B5D6A9BC9B9C}" destId="{6A7BC04E-2409-4C44-A1E8-BD3DD331D5DD}" srcOrd="2" destOrd="0" parTransId="{B3E1E40B-509E-4C7B-94D9-B2A4E743F2C8}" sibTransId="{F673B727-5F7A-4FF9-9A18-6BEAB7371D46}"/>
    <dgm:cxn modelId="{60131FCE-0AF9-4F37-8C47-6226543155BF}" srcId="{65726EA5-AA93-487C-97A7-808699927CE1}" destId="{3B0D9DF1-C57F-44D8-89EE-6221834AA98D}" srcOrd="1" destOrd="0" parTransId="{2A5B5B53-A6EB-4512-9EF1-9F9C93D82D87}" sibTransId="{C3541FC8-1610-4A64-9DBB-98F904EEE530}"/>
    <dgm:cxn modelId="{3A6436E9-6124-4163-9262-65361CDE6E69}" type="presOf" srcId="{65726EA5-AA93-487C-97A7-808699927CE1}" destId="{8AA6FD74-85F7-4115-8341-EB1DFCEDFCF0}" srcOrd="0" destOrd="0" presId="urn:microsoft.com/office/officeart/2005/8/layout/vList5"/>
    <dgm:cxn modelId="{2F5360D6-1F06-40BE-B372-D8C09CB4CC2F}" type="presOf" srcId="{4A01B75E-D77C-4E00-9D9F-9643712C3827}" destId="{AD392A59-2790-400A-869B-A86EFC974C6A}" srcOrd="0" destOrd="2" presId="urn:microsoft.com/office/officeart/2005/8/layout/vList5"/>
    <dgm:cxn modelId="{A06586A2-390F-423C-8250-83D42BC1F264}" srcId="{65726EA5-AA93-487C-97A7-808699927CE1}" destId="{F9EE7989-FB2F-43E5-A09E-52CFD566C0F1}" srcOrd="0" destOrd="0" parTransId="{D799099C-D464-4393-8D07-84CEBDF55DA4}" sibTransId="{6D8957BA-4BF4-4C16-9266-F79FB95B27FD}"/>
    <dgm:cxn modelId="{CF097F98-FAD2-4F62-BB9F-4A5B143AC2B5}" srcId="{19C25B7F-675D-468A-83D5-B5D6A9BC9B9C}" destId="{8C00DDFC-9F11-430B-8B42-B0FC07D34BB4}" srcOrd="0" destOrd="0" parTransId="{1CBD4382-329F-4E01-869B-314A82189990}" sibTransId="{88BF8487-E42B-4951-A5F3-B96F798BA617}"/>
    <dgm:cxn modelId="{FB52614B-4BEC-440A-90E8-3B8989194603}" type="presOf" srcId="{19C25B7F-675D-468A-83D5-B5D6A9BC9B9C}" destId="{AC199A31-6445-4F67-92A6-CA8552A9C5FC}" srcOrd="0" destOrd="0" presId="urn:microsoft.com/office/officeart/2005/8/layout/vList5"/>
    <dgm:cxn modelId="{0390F3ED-2F83-4B76-B217-15A425D79E57}" type="presOf" srcId="{9D21EE48-DFE7-467B-BEE6-A4267B48949E}" destId="{3DBCCFFB-3CEC-46A9-A5D1-5C3E7AE16A84}" srcOrd="0" destOrd="1" presId="urn:microsoft.com/office/officeart/2005/8/layout/vList5"/>
    <dgm:cxn modelId="{B159FFFD-8211-4300-AE4C-FE8B052A8A07}" srcId="{65726EA5-AA93-487C-97A7-808699927CE1}" destId="{5742F6C9-E26D-4327-BF9A-0194FFC413CB}" srcOrd="3" destOrd="0" parTransId="{9F02CA1A-FA87-4BDA-8FD9-F26AF013B927}" sibTransId="{91087CD4-7B43-4AE5-91BA-27AA5F35D694}"/>
    <dgm:cxn modelId="{5DA8F548-0FBB-441B-80BB-63FF90AC4BF3}" srcId="{65726EA5-AA93-487C-97A7-808699927CE1}" destId="{1F3B4741-0DB1-46BC-BF7A-0B2FDDEC2642}" srcOrd="4" destOrd="0" parTransId="{A3BBD04E-BC6D-41A2-88E1-6F6CA4323C21}" sibTransId="{D7A50248-C348-4A14-A255-D3F9E1B45340}"/>
    <dgm:cxn modelId="{D47E416F-50E2-466C-AB77-3DF677EE349E}" type="presOf" srcId="{3CEDE75F-BA31-4B2A-BA39-A825EA5B4D2E}" destId="{3DBCCFFB-3CEC-46A9-A5D1-5C3E7AE16A84}" srcOrd="0" destOrd="3" presId="urn:microsoft.com/office/officeart/2005/8/layout/vList5"/>
    <dgm:cxn modelId="{A47BE571-6F24-45FA-8F19-904B1721BDD2}" srcId="{6CDEDBE1-7A9F-446F-8485-DD367838D63B}" destId="{65726EA5-AA93-487C-97A7-808699927CE1}" srcOrd="1" destOrd="0" parTransId="{CC4D0A72-C74B-4F75-8804-33F1D7D56CCE}" sibTransId="{4547CB7D-15FF-4AF0-B55F-F288599D5F31}"/>
    <dgm:cxn modelId="{B7758CC7-623D-45F8-A711-B95217FB9619}" type="presOf" srcId="{3B0D9DF1-C57F-44D8-89EE-6221834AA98D}" destId="{AD392A59-2790-400A-869B-A86EFC974C6A}" srcOrd="0" destOrd="1" presId="urn:microsoft.com/office/officeart/2005/8/layout/vList5"/>
    <dgm:cxn modelId="{FEF4FE3F-325B-4FF7-8F1A-E7A92DA78D6F}" type="presParOf" srcId="{6128823D-CFB9-43F1-95EF-B3245297FB51}" destId="{8ECAA12F-84C9-4919-A507-D56267AE50FC}" srcOrd="0" destOrd="0" presId="urn:microsoft.com/office/officeart/2005/8/layout/vList5"/>
    <dgm:cxn modelId="{426A1AA3-6509-4C9B-BC95-3728ED12849F}" type="presParOf" srcId="{8ECAA12F-84C9-4919-A507-D56267AE50FC}" destId="{AC199A31-6445-4F67-92A6-CA8552A9C5FC}" srcOrd="0" destOrd="0" presId="urn:microsoft.com/office/officeart/2005/8/layout/vList5"/>
    <dgm:cxn modelId="{8903E29F-FC6D-4242-BD01-2A0345AFC483}" type="presParOf" srcId="{8ECAA12F-84C9-4919-A507-D56267AE50FC}" destId="{3DBCCFFB-3CEC-46A9-A5D1-5C3E7AE16A84}" srcOrd="1" destOrd="0" presId="urn:microsoft.com/office/officeart/2005/8/layout/vList5"/>
    <dgm:cxn modelId="{120ADC88-4D9D-47DA-ABF0-F87764B5B565}" type="presParOf" srcId="{6128823D-CFB9-43F1-95EF-B3245297FB51}" destId="{07C23BF9-AF73-49C6-9A85-46A0F0CC825E}" srcOrd="1" destOrd="0" presId="urn:microsoft.com/office/officeart/2005/8/layout/vList5"/>
    <dgm:cxn modelId="{6F9B1B5D-9721-41A8-AF12-1A8AFD760BDB}" type="presParOf" srcId="{6128823D-CFB9-43F1-95EF-B3245297FB51}" destId="{40F812FD-72EC-48AC-A692-1EB082CE117B}" srcOrd="2" destOrd="0" presId="urn:microsoft.com/office/officeart/2005/8/layout/vList5"/>
    <dgm:cxn modelId="{A4B66320-2058-403C-87D0-ECB067D0D7B0}" type="presParOf" srcId="{40F812FD-72EC-48AC-A692-1EB082CE117B}" destId="{8AA6FD74-85F7-4115-8341-EB1DFCEDFCF0}" srcOrd="0" destOrd="0" presId="urn:microsoft.com/office/officeart/2005/8/layout/vList5"/>
    <dgm:cxn modelId="{1B1C25E0-1D04-44D1-AA32-81A25D5D808F}" type="presParOf" srcId="{40F812FD-72EC-48AC-A692-1EB082CE117B}" destId="{AD392A59-2790-400A-869B-A86EFC974C6A}" srcOrd="1" destOrd="0" presId="urn:microsoft.com/office/officeart/2005/8/layout/vList5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64EBA1B-04B5-4832-A782-0EDB17473C8C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15640A1-4E78-4CC1-91D9-3F213C4D707A}">
      <dgm:prSet phldrT="[Texte]" custT="1"/>
      <dgm:spPr/>
      <dgm:t>
        <a:bodyPr/>
        <a:lstStyle/>
        <a:p>
          <a:r>
            <a:rPr lang="fr-FR" sz="1400" b="1" dirty="0" smtClean="0"/>
            <a:t>Obligations de preuve</a:t>
          </a:r>
          <a:endParaRPr lang="fr-FR" sz="1400" b="1" dirty="0"/>
        </a:p>
      </dgm:t>
    </dgm:pt>
    <dgm:pt modelId="{ECA7D864-C149-40AC-9AEF-CE42A98439A1}" type="parTrans" cxnId="{ECDED06F-3600-4DE3-87BE-94DBF8A7464C}">
      <dgm:prSet/>
      <dgm:spPr/>
      <dgm:t>
        <a:bodyPr/>
        <a:lstStyle/>
        <a:p>
          <a:endParaRPr lang="fr-FR"/>
        </a:p>
      </dgm:t>
    </dgm:pt>
    <dgm:pt modelId="{0FEF3D3F-91F5-4AD5-B3E5-AE67F17D5C74}" type="sibTrans" cxnId="{ECDED06F-3600-4DE3-87BE-94DBF8A7464C}">
      <dgm:prSet/>
      <dgm:spPr/>
      <dgm:t>
        <a:bodyPr/>
        <a:lstStyle/>
        <a:p>
          <a:endParaRPr lang="fr-FR"/>
        </a:p>
      </dgm:t>
    </dgm:pt>
    <dgm:pt modelId="{FE0A975D-C0B1-4DA3-8151-D2BF8B0D4815}">
      <dgm:prSet phldrT="[Texte]" custT="1"/>
      <dgm:spPr/>
      <dgm:t>
        <a:bodyPr/>
        <a:lstStyle/>
        <a:p>
          <a:r>
            <a:rPr lang="fr-FR" sz="1400" b="1" dirty="0" smtClean="0"/>
            <a:t>Correction des expressions</a:t>
          </a:r>
          <a:endParaRPr lang="fr-FR" sz="1400" b="1" dirty="0"/>
        </a:p>
      </dgm:t>
    </dgm:pt>
    <dgm:pt modelId="{7E90C986-83D1-4EDC-9786-C8EEE5150256}" type="parTrans" cxnId="{4D1FF903-CC2D-4682-853B-783EEE503E52}">
      <dgm:prSet/>
      <dgm:spPr/>
      <dgm:t>
        <a:bodyPr/>
        <a:lstStyle/>
        <a:p>
          <a:endParaRPr lang="fr-FR"/>
        </a:p>
      </dgm:t>
    </dgm:pt>
    <dgm:pt modelId="{BF837306-DED3-4D9D-8114-4589A07EFEBF}" type="sibTrans" cxnId="{4D1FF903-CC2D-4682-853B-783EEE503E52}">
      <dgm:prSet/>
      <dgm:spPr/>
      <dgm:t>
        <a:bodyPr/>
        <a:lstStyle/>
        <a:p>
          <a:endParaRPr lang="fr-FR"/>
        </a:p>
      </dgm:t>
    </dgm:pt>
    <dgm:pt modelId="{FE02D39B-6B6F-4089-B88D-92BF871A1D10}">
      <dgm:prSet phldrT="[Texte]" custT="1"/>
      <dgm:spPr/>
      <dgm:t>
        <a:bodyPr/>
        <a:lstStyle/>
        <a:p>
          <a:r>
            <a:rPr lang="fr-FR" sz="1400" b="1" dirty="0" smtClean="0"/>
            <a:t>Obligations de preuve de la machine</a:t>
          </a:r>
          <a:endParaRPr lang="fr-FR" sz="1400" b="1" dirty="0"/>
        </a:p>
      </dgm:t>
    </dgm:pt>
    <dgm:pt modelId="{FEA7C436-8DDF-4605-9A15-55C7FF55AED3}" type="parTrans" cxnId="{999113FF-6BB8-4D5D-A4E8-2ACC43FB325A}">
      <dgm:prSet/>
      <dgm:spPr/>
      <dgm:t>
        <a:bodyPr/>
        <a:lstStyle/>
        <a:p>
          <a:endParaRPr lang="fr-FR"/>
        </a:p>
      </dgm:t>
    </dgm:pt>
    <dgm:pt modelId="{74C170D5-3D68-45F3-801E-84B197C4990C}" type="sibTrans" cxnId="{999113FF-6BB8-4D5D-A4E8-2ACC43FB325A}">
      <dgm:prSet/>
      <dgm:spPr/>
      <dgm:t>
        <a:bodyPr/>
        <a:lstStyle/>
        <a:p>
          <a:endParaRPr lang="fr-FR"/>
        </a:p>
      </dgm:t>
    </dgm:pt>
    <dgm:pt modelId="{F1FB9426-A625-4A96-AF14-06F3EFE524B1}">
      <dgm:prSet phldrT="[Texte]" custT="1"/>
      <dgm:spPr/>
      <dgm:t>
        <a:bodyPr/>
        <a:lstStyle/>
        <a:p>
          <a:r>
            <a:rPr lang="fr-FR" sz="1400" b="1" dirty="0" smtClean="0"/>
            <a:t>Exactitude du raffinement</a:t>
          </a:r>
          <a:endParaRPr lang="fr-FR" sz="1400" b="1" dirty="0"/>
        </a:p>
      </dgm:t>
    </dgm:pt>
    <dgm:pt modelId="{1FFCEDEF-B19C-4E9A-96C3-A6D2C953C466}" type="parTrans" cxnId="{771D16BA-B168-4A12-8A02-EFD10374089D}">
      <dgm:prSet/>
      <dgm:spPr/>
      <dgm:t>
        <a:bodyPr/>
        <a:lstStyle/>
        <a:p>
          <a:endParaRPr lang="fr-FR"/>
        </a:p>
      </dgm:t>
    </dgm:pt>
    <dgm:pt modelId="{D3059CCD-3C4D-4BF7-AD29-76B77B1D80C4}" type="sibTrans" cxnId="{771D16BA-B168-4A12-8A02-EFD10374089D}">
      <dgm:prSet/>
      <dgm:spPr/>
      <dgm:t>
        <a:bodyPr/>
        <a:lstStyle/>
        <a:p>
          <a:endParaRPr lang="fr-FR"/>
        </a:p>
      </dgm:t>
    </dgm:pt>
    <dgm:pt modelId="{B27B532D-02E1-4DA9-93C2-FB660D952649}">
      <dgm:prSet phldrT="[Texte]" custT="1"/>
      <dgm:spPr/>
      <dgm:t>
        <a:bodyPr/>
        <a:lstStyle/>
        <a:p>
          <a:r>
            <a:rPr lang="fr-FR" sz="1400" b="1" dirty="0" smtClean="0"/>
            <a:t>Invariance</a:t>
          </a:r>
          <a:endParaRPr lang="fr-FR" sz="1400" b="1" dirty="0"/>
        </a:p>
      </dgm:t>
    </dgm:pt>
    <dgm:pt modelId="{0E7BEA69-1F75-4CAF-9D37-682508A8909A}" type="parTrans" cxnId="{2F836720-4587-4FCA-AACE-490299D4BE1C}">
      <dgm:prSet/>
      <dgm:spPr/>
      <dgm:t>
        <a:bodyPr/>
        <a:lstStyle/>
        <a:p>
          <a:endParaRPr lang="fr-FR"/>
        </a:p>
      </dgm:t>
    </dgm:pt>
    <dgm:pt modelId="{542390D9-89B5-4049-AC5A-1BFD1F7CD0A4}" type="sibTrans" cxnId="{2F836720-4587-4FCA-AACE-490299D4BE1C}">
      <dgm:prSet/>
      <dgm:spPr/>
      <dgm:t>
        <a:bodyPr/>
        <a:lstStyle/>
        <a:p>
          <a:endParaRPr lang="fr-FR"/>
        </a:p>
      </dgm:t>
    </dgm:pt>
    <dgm:pt modelId="{D41161C1-53DC-4E25-B6D8-558483DA507D}">
      <dgm:prSet phldrT="[Texte]" custT="1"/>
      <dgm:spPr/>
      <dgm:t>
        <a:bodyPr/>
        <a:lstStyle/>
        <a:p>
          <a:r>
            <a:rPr lang="fr-FR" sz="1400" b="1" dirty="0" smtClean="0"/>
            <a:t>Absence</a:t>
          </a:r>
        </a:p>
        <a:p>
          <a:r>
            <a:rPr lang="fr-FR" sz="1400" b="1" dirty="0" smtClean="0"/>
            <a:t>de </a:t>
          </a:r>
        </a:p>
        <a:p>
          <a:r>
            <a:rPr lang="fr-FR" sz="1400" b="1" dirty="0" smtClean="0"/>
            <a:t>blocage</a:t>
          </a:r>
          <a:endParaRPr lang="fr-FR" sz="1400" b="1" dirty="0"/>
        </a:p>
      </dgm:t>
    </dgm:pt>
    <dgm:pt modelId="{50CD2348-4139-46A6-89D6-27C9A8CAFA37}" type="parTrans" cxnId="{A1CC19B8-179B-46FF-BD02-D9AA079339C1}">
      <dgm:prSet/>
      <dgm:spPr/>
      <dgm:t>
        <a:bodyPr/>
        <a:lstStyle/>
        <a:p>
          <a:endParaRPr lang="fr-FR"/>
        </a:p>
      </dgm:t>
    </dgm:pt>
    <dgm:pt modelId="{2E491C1D-1C3E-40A0-841C-9BCD6B21877E}" type="sibTrans" cxnId="{A1CC19B8-179B-46FF-BD02-D9AA079339C1}">
      <dgm:prSet/>
      <dgm:spPr/>
      <dgm:t>
        <a:bodyPr/>
        <a:lstStyle/>
        <a:p>
          <a:endParaRPr lang="fr-FR"/>
        </a:p>
      </dgm:t>
    </dgm:pt>
    <dgm:pt modelId="{533FB05C-9142-471F-AB3A-779E35845268}">
      <dgm:prSet phldrT="[Texte]" custT="1"/>
      <dgm:spPr/>
      <dgm:t>
        <a:bodyPr/>
        <a:lstStyle/>
        <a:p>
          <a:r>
            <a:rPr lang="fr-FR" sz="1400" b="1" dirty="0" smtClean="0"/>
            <a:t>Faisabilité</a:t>
          </a:r>
        </a:p>
        <a:p>
          <a:r>
            <a:rPr lang="fr-FR" sz="1400" b="1" dirty="0" smtClean="0"/>
            <a:t>des</a:t>
          </a:r>
        </a:p>
        <a:p>
          <a:r>
            <a:rPr lang="fr-FR" sz="1400" b="1" dirty="0" smtClean="0"/>
            <a:t>événements</a:t>
          </a:r>
          <a:endParaRPr lang="fr-FR" sz="1400" b="1" dirty="0"/>
        </a:p>
      </dgm:t>
    </dgm:pt>
    <dgm:pt modelId="{EC2FFD3E-A3A2-43D9-AE88-D4A33E2A1302}" type="parTrans" cxnId="{206219B8-2095-459D-8737-CB84A14C0D81}">
      <dgm:prSet/>
      <dgm:spPr/>
      <dgm:t>
        <a:bodyPr/>
        <a:lstStyle/>
        <a:p>
          <a:endParaRPr lang="fr-FR"/>
        </a:p>
      </dgm:t>
    </dgm:pt>
    <dgm:pt modelId="{5B2024B9-8F25-4A0E-BD36-56D979A97210}" type="sibTrans" cxnId="{206219B8-2095-459D-8737-CB84A14C0D81}">
      <dgm:prSet/>
      <dgm:spPr/>
      <dgm:t>
        <a:bodyPr/>
        <a:lstStyle/>
        <a:p>
          <a:endParaRPr lang="fr-FR"/>
        </a:p>
      </dgm:t>
    </dgm:pt>
    <dgm:pt modelId="{0246E5C7-9CA1-45EF-88D5-BAF3F61514E4}">
      <dgm:prSet phldrT="[Texte]" custT="1"/>
      <dgm:spPr/>
      <dgm:t>
        <a:bodyPr/>
        <a:lstStyle/>
        <a:p>
          <a:r>
            <a:rPr lang="fr-FR" sz="1400" b="1" dirty="0" smtClean="0"/>
            <a:t>Convergence</a:t>
          </a:r>
          <a:endParaRPr lang="fr-FR" sz="1400" b="1" dirty="0"/>
        </a:p>
      </dgm:t>
    </dgm:pt>
    <dgm:pt modelId="{91251F2B-E6B6-47CD-9F7E-90553A66116C}" type="parTrans" cxnId="{50501D69-B44D-4289-A673-3334398E6965}">
      <dgm:prSet/>
      <dgm:spPr/>
      <dgm:t>
        <a:bodyPr/>
        <a:lstStyle/>
        <a:p>
          <a:endParaRPr lang="fr-FR"/>
        </a:p>
      </dgm:t>
    </dgm:pt>
    <dgm:pt modelId="{19E53CEE-881E-4D02-A595-6FD6F4E43113}" type="sibTrans" cxnId="{50501D69-B44D-4289-A673-3334398E6965}">
      <dgm:prSet/>
      <dgm:spPr/>
      <dgm:t>
        <a:bodyPr/>
        <a:lstStyle/>
        <a:p>
          <a:endParaRPr lang="fr-FR"/>
        </a:p>
      </dgm:t>
    </dgm:pt>
    <dgm:pt modelId="{4C86C5DA-0369-47C3-84E4-2008B27DA8D0}">
      <dgm:prSet phldrT="[Texte]" custT="1"/>
      <dgm:spPr/>
      <dgm:t>
        <a:bodyPr/>
        <a:lstStyle/>
        <a:p>
          <a:r>
            <a:rPr lang="fr-FR" sz="1400" b="1" dirty="0" smtClean="0"/>
            <a:t>Correction des</a:t>
          </a:r>
        </a:p>
        <a:p>
          <a:r>
            <a:rPr lang="fr-FR" sz="1400" b="1" dirty="0" smtClean="0"/>
            <a:t>témoins</a:t>
          </a:r>
          <a:endParaRPr lang="fr-FR" sz="1400" b="1" dirty="0"/>
        </a:p>
      </dgm:t>
    </dgm:pt>
    <dgm:pt modelId="{F3C1A158-DA41-417A-A30D-E98D77358E5C}" type="parTrans" cxnId="{4A67EF6C-84E3-49C3-BBCE-435C4D2DAF93}">
      <dgm:prSet/>
      <dgm:spPr/>
      <dgm:t>
        <a:bodyPr/>
        <a:lstStyle/>
        <a:p>
          <a:endParaRPr lang="fr-FR"/>
        </a:p>
      </dgm:t>
    </dgm:pt>
    <dgm:pt modelId="{0C53F362-822A-4B58-8D9F-16FBE709E461}" type="sibTrans" cxnId="{4A67EF6C-84E3-49C3-BBCE-435C4D2DAF93}">
      <dgm:prSet/>
      <dgm:spPr/>
      <dgm:t>
        <a:bodyPr/>
        <a:lstStyle/>
        <a:p>
          <a:endParaRPr lang="fr-FR"/>
        </a:p>
      </dgm:t>
    </dgm:pt>
    <dgm:pt modelId="{86DDF4DF-7496-42EA-B234-634344356D9E}">
      <dgm:prSet phldrT="[Texte]"/>
      <dgm:spPr/>
      <dgm:t>
        <a:bodyPr/>
        <a:lstStyle/>
        <a:p>
          <a:r>
            <a:rPr lang="fr-FR" dirty="0" smtClean="0"/>
            <a:t>…</a:t>
          </a:r>
          <a:endParaRPr lang="fr-FR" dirty="0"/>
        </a:p>
      </dgm:t>
    </dgm:pt>
    <dgm:pt modelId="{227741C3-39E6-454D-AD68-281FAE964BD9}" type="parTrans" cxnId="{752D0236-C16F-4AA8-8ADB-8F13F1A150AC}">
      <dgm:prSet/>
      <dgm:spPr/>
      <dgm:t>
        <a:bodyPr/>
        <a:lstStyle/>
        <a:p>
          <a:endParaRPr lang="fr-FR"/>
        </a:p>
      </dgm:t>
    </dgm:pt>
    <dgm:pt modelId="{641EFCFE-696C-4DC4-AC88-BE497BC8649E}" type="sibTrans" cxnId="{752D0236-C16F-4AA8-8ADB-8F13F1A150AC}">
      <dgm:prSet/>
      <dgm:spPr/>
      <dgm:t>
        <a:bodyPr/>
        <a:lstStyle/>
        <a:p>
          <a:endParaRPr lang="fr-FR"/>
        </a:p>
      </dgm:t>
    </dgm:pt>
    <dgm:pt modelId="{0187BC31-A013-4A8E-8BAD-B004CBFFE0E8}" type="pres">
      <dgm:prSet presAssocID="{064EBA1B-04B5-4832-A782-0EDB17473C8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6F535BFE-48C5-45DB-81F2-24D3CFF3CA7F}" type="pres">
      <dgm:prSet presAssocID="{E15640A1-4E78-4CC1-91D9-3F213C4D707A}" presName="hierRoot1" presStyleCnt="0"/>
      <dgm:spPr/>
    </dgm:pt>
    <dgm:pt modelId="{C54BFE5D-F4E8-4EFD-BAFA-FADEFA1961C1}" type="pres">
      <dgm:prSet presAssocID="{E15640A1-4E78-4CC1-91D9-3F213C4D707A}" presName="composite" presStyleCnt="0"/>
      <dgm:spPr/>
    </dgm:pt>
    <dgm:pt modelId="{335DCD4E-C0BD-4777-BF5E-527CE13CBFF5}" type="pres">
      <dgm:prSet presAssocID="{E15640A1-4E78-4CC1-91D9-3F213C4D707A}" presName="background" presStyleLbl="node0" presStyleIdx="0" presStyleCnt="1"/>
      <dgm:spPr/>
    </dgm:pt>
    <dgm:pt modelId="{4AFC6ADB-A933-4274-9B8A-5AC135AA8E01}" type="pres">
      <dgm:prSet presAssocID="{E15640A1-4E78-4CC1-91D9-3F213C4D707A}" presName="text" presStyleLbl="fgAcc0" presStyleIdx="0" presStyleCnt="1" custScaleX="436657" custScaleY="282571" custLinFactY="-100000" custLinFactNeighborX="5278" custLinFactNeighborY="-177513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2348281D-0788-4A9D-B0DF-2574F37F1599}" type="pres">
      <dgm:prSet presAssocID="{E15640A1-4E78-4CC1-91D9-3F213C4D707A}" presName="hierChild2" presStyleCnt="0"/>
      <dgm:spPr/>
    </dgm:pt>
    <dgm:pt modelId="{419C2D83-663A-46F8-A835-E35B94505877}" type="pres">
      <dgm:prSet presAssocID="{7E90C986-83D1-4EDC-9786-C8EEE5150256}" presName="Name10" presStyleLbl="parChTrans1D2" presStyleIdx="0" presStyleCnt="3"/>
      <dgm:spPr/>
      <dgm:t>
        <a:bodyPr/>
        <a:lstStyle/>
        <a:p>
          <a:endParaRPr lang="fr-FR"/>
        </a:p>
      </dgm:t>
    </dgm:pt>
    <dgm:pt modelId="{458B0843-F406-4BFB-8F83-8899B5E7793F}" type="pres">
      <dgm:prSet presAssocID="{FE0A975D-C0B1-4DA3-8151-D2BF8B0D4815}" presName="hierRoot2" presStyleCnt="0"/>
      <dgm:spPr/>
    </dgm:pt>
    <dgm:pt modelId="{76AEF671-D715-4DB3-8BB2-840A1C530D65}" type="pres">
      <dgm:prSet presAssocID="{FE0A975D-C0B1-4DA3-8151-D2BF8B0D4815}" presName="composite2" presStyleCnt="0"/>
      <dgm:spPr/>
    </dgm:pt>
    <dgm:pt modelId="{74BFC6CC-B2FE-412C-9DA0-533A21A61218}" type="pres">
      <dgm:prSet presAssocID="{FE0A975D-C0B1-4DA3-8151-D2BF8B0D4815}" presName="background2" presStyleLbl="node2" presStyleIdx="0" presStyleCnt="3"/>
      <dgm:spPr/>
    </dgm:pt>
    <dgm:pt modelId="{7D78EF03-9852-4D0A-A87D-269B304C177B}" type="pres">
      <dgm:prSet presAssocID="{FE0A975D-C0B1-4DA3-8151-D2BF8B0D4815}" presName="text2" presStyleLbl="fgAcc2" presStyleIdx="0" presStyleCnt="3" custScaleX="207355" custScaleY="278663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9040E84C-0B4E-4160-91D3-411EB41298C1}" type="pres">
      <dgm:prSet presAssocID="{FE0A975D-C0B1-4DA3-8151-D2BF8B0D4815}" presName="hierChild3" presStyleCnt="0"/>
      <dgm:spPr/>
    </dgm:pt>
    <dgm:pt modelId="{9F9EC699-88B5-4B73-8CF9-31D3B1C7C635}" type="pres">
      <dgm:prSet presAssocID="{FEA7C436-8DDF-4605-9A15-55C7FF55AED3}" presName="Name10" presStyleLbl="parChTrans1D2" presStyleIdx="1" presStyleCnt="3"/>
      <dgm:spPr/>
      <dgm:t>
        <a:bodyPr/>
        <a:lstStyle/>
        <a:p>
          <a:endParaRPr lang="fr-FR"/>
        </a:p>
      </dgm:t>
    </dgm:pt>
    <dgm:pt modelId="{388B7F09-F357-4F7E-98A7-5A859A2A30D4}" type="pres">
      <dgm:prSet presAssocID="{FE02D39B-6B6F-4089-B88D-92BF871A1D10}" presName="hierRoot2" presStyleCnt="0"/>
      <dgm:spPr/>
    </dgm:pt>
    <dgm:pt modelId="{0D07F7BB-E032-4098-88AA-E0C50DCEB3B7}" type="pres">
      <dgm:prSet presAssocID="{FE02D39B-6B6F-4089-B88D-92BF871A1D10}" presName="composite2" presStyleCnt="0"/>
      <dgm:spPr/>
    </dgm:pt>
    <dgm:pt modelId="{42099C8B-D9B3-42B0-91CA-3F029FAD1EB2}" type="pres">
      <dgm:prSet presAssocID="{FE02D39B-6B6F-4089-B88D-92BF871A1D10}" presName="background2" presStyleLbl="node2" presStyleIdx="1" presStyleCnt="3"/>
      <dgm:spPr/>
    </dgm:pt>
    <dgm:pt modelId="{793B6F58-9498-4819-B5A7-D14F3C6F7DAF}" type="pres">
      <dgm:prSet presAssocID="{FE02D39B-6B6F-4089-B88D-92BF871A1D10}" presName="text2" presStyleLbl="fgAcc2" presStyleIdx="1" presStyleCnt="3" custScaleX="461400" custScaleY="28991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ABB15D0-DAD6-4B09-BCE3-16219809567E}" type="pres">
      <dgm:prSet presAssocID="{FE02D39B-6B6F-4089-B88D-92BF871A1D10}" presName="hierChild3" presStyleCnt="0"/>
      <dgm:spPr/>
    </dgm:pt>
    <dgm:pt modelId="{7305C55E-52CE-4465-B9EE-82EA56BED2BA}" type="pres">
      <dgm:prSet presAssocID="{0E7BEA69-1F75-4CAF-9D37-682508A8909A}" presName="Name17" presStyleLbl="parChTrans1D3" presStyleIdx="0" presStyleCnt="6"/>
      <dgm:spPr/>
      <dgm:t>
        <a:bodyPr/>
        <a:lstStyle/>
        <a:p>
          <a:endParaRPr lang="fr-FR"/>
        </a:p>
      </dgm:t>
    </dgm:pt>
    <dgm:pt modelId="{8AEFE12C-C15D-4F4B-9F02-CD117419DB5C}" type="pres">
      <dgm:prSet presAssocID="{B27B532D-02E1-4DA9-93C2-FB660D952649}" presName="hierRoot3" presStyleCnt="0"/>
      <dgm:spPr/>
    </dgm:pt>
    <dgm:pt modelId="{5E7AE27C-DE2C-40A3-9287-7F455B621DE6}" type="pres">
      <dgm:prSet presAssocID="{B27B532D-02E1-4DA9-93C2-FB660D952649}" presName="composite3" presStyleCnt="0"/>
      <dgm:spPr/>
    </dgm:pt>
    <dgm:pt modelId="{49330FC3-32E2-42EA-A9F6-EC303B49FDC1}" type="pres">
      <dgm:prSet presAssocID="{B27B532D-02E1-4DA9-93C2-FB660D952649}" presName="background3" presStyleLbl="node3" presStyleIdx="0" presStyleCnt="6"/>
      <dgm:spPr/>
    </dgm:pt>
    <dgm:pt modelId="{E5ACC492-D7CE-4839-9A79-8DD4EEF362F7}" type="pres">
      <dgm:prSet presAssocID="{B27B532D-02E1-4DA9-93C2-FB660D952649}" presName="text3" presStyleLbl="fgAcc3" presStyleIdx="0" presStyleCnt="6" custScaleX="207182" custScaleY="28692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7BCB6458-B2E9-49E3-9840-A456193A5505}" type="pres">
      <dgm:prSet presAssocID="{B27B532D-02E1-4DA9-93C2-FB660D952649}" presName="hierChild4" presStyleCnt="0"/>
      <dgm:spPr/>
    </dgm:pt>
    <dgm:pt modelId="{B1D2BC72-C8C3-4F76-BCB0-91F4C79503D1}" type="pres">
      <dgm:prSet presAssocID="{50CD2348-4139-46A6-89D6-27C9A8CAFA37}" presName="Name17" presStyleLbl="parChTrans1D3" presStyleIdx="1" presStyleCnt="6"/>
      <dgm:spPr/>
      <dgm:t>
        <a:bodyPr/>
        <a:lstStyle/>
        <a:p>
          <a:endParaRPr lang="fr-FR"/>
        </a:p>
      </dgm:t>
    </dgm:pt>
    <dgm:pt modelId="{6F9D10AB-BAA9-4870-9C8F-C222AAF92C6D}" type="pres">
      <dgm:prSet presAssocID="{D41161C1-53DC-4E25-B6D8-558483DA507D}" presName="hierRoot3" presStyleCnt="0"/>
      <dgm:spPr/>
    </dgm:pt>
    <dgm:pt modelId="{6F1F987C-5999-427B-A9B8-2E9DF379E69F}" type="pres">
      <dgm:prSet presAssocID="{D41161C1-53DC-4E25-B6D8-558483DA507D}" presName="composite3" presStyleCnt="0"/>
      <dgm:spPr/>
    </dgm:pt>
    <dgm:pt modelId="{672935FA-89FB-4C81-AB62-11559AD6C7C0}" type="pres">
      <dgm:prSet presAssocID="{D41161C1-53DC-4E25-B6D8-558483DA507D}" presName="background3" presStyleLbl="node3" presStyleIdx="1" presStyleCnt="6"/>
      <dgm:spPr/>
    </dgm:pt>
    <dgm:pt modelId="{68E9C7F4-1552-4113-8D31-7E12659C2AA3}" type="pres">
      <dgm:prSet presAssocID="{D41161C1-53DC-4E25-B6D8-558483DA507D}" presName="text3" presStyleLbl="fgAcc3" presStyleIdx="1" presStyleCnt="6" custScaleX="191592" custScaleY="29219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D67E9CE-37AE-4FEB-BCEC-7B3D3BC2C46B}" type="pres">
      <dgm:prSet presAssocID="{D41161C1-53DC-4E25-B6D8-558483DA507D}" presName="hierChild4" presStyleCnt="0"/>
      <dgm:spPr/>
    </dgm:pt>
    <dgm:pt modelId="{62A482F1-CD4D-454B-9684-9EA91111B131}" type="pres">
      <dgm:prSet presAssocID="{EC2FFD3E-A3A2-43D9-AE88-D4A33E2A1302}" presName="Name17" presStyleLbl="parChTrans1D3" presStyleIdx="2" presStyleCnt="6"/>
      <dgm:spPr/>
      <dgm:t>
        <a:bodyPr/>
        <a:lstStyle/>
        <a:p>
          <a:endParaRPr lang="fr-FR"/>
        </a:p>
      </dgm:t>
    </dgm:pt>
    <dgm:pt modelId="{642DEA95-07C6-45E0-AC63-C045A51C22CC}" type="pres">
      <dgm:prSet presAssocID="{533FB05C-9142-471F-AB3A-779E35845268}" presName="hierRoot3" presStyleCnt="0"/>
      <dgm:spPr/>
    </dgm:pt>
    <dgm:pt modelId="{EDBFF055-00B3-4227-A1C0-D98009FDB4D4}" type="pres">
      <dgm:prSet presAssocID="{533FB05C-9142-471F-AB3A-779E35845268}" presName="composite3" presStyleCnt="0"/>
      <dgm:spPr/>
    </dgm:pt>
    <dgm:pt modelId="{1BBB06C8-E99A-440F-8BD1-80513693BC77}" type="pres">
      <dgm:prSet presAssocID="{533FB05C-9142-471F-AB3A-779E35845268}" presName="background3" presStyleLbl="node3" presStyleIdx="2" presStyleCnt="6"/>
      <dgm:spPr/>
    </dgm:pt>
    <dgm:pt modelId="{9F7764AE-2537-44FE-AB71-C10C31684496}" type="pres">
      <dgm:prSet presAssocID="{533FB05C-9142-471F-AB3A-779E35845268}" presName="text3" presStyleLbl="fgAcc3" presStyleIdx="2" presStyleCnt="6" custScaleX="211046" custScaleY="300918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6FDEACBA-8180-49D7-A1B9-9A43092FA285}" type="pres">
      <dgm:prSet presAssocID="{533FB05C-9142-471F-AB3A-779E35845268}" presName="hierChild4" presStyleCnt="0"/>
      <dgm:spPr/>
    </dgm:pt>
    <dgm:pt modelId="{419EF044-912B-4EED-A84D-A4FF00EFB4E0}" type="pres">
      <dgm:prSet presAssocID="{1FFCEDEF-B19C-4E9A-96C3-A6D2C953C466}" presName="Name10" presStyleLbl="parChTrans1D2" presStyleIdx="2" presStyleCnt="3"/>
      <dgm:spPr/>
      <dgm:t>
        <a:bodyPr/>
        <a:lstStyle/>
        <a:p>
          <a:endParaRPr lang="fr-FR"/>
        </a:p>
      </dgm:t>
    </dgm:pt>
    <dgm:pt modelId="{5AA5B9C6-A347-4476-92BD-C7C62A132572}" type="pres">
      <dgm:prSet presAssocID="{F1FB9426-A625-4A96-AF14-06F3EFE524B1}" presName="hierRoot2" presStyleCnt="0"/>
      <dgm:spPr/>
    </dgm:pt>
    <dgm:pt modelId="{A65685B3-69A5-4BF8-9965-DA4E9BB9D637}" type="pres">
      <dgm:prSet presAssocID="{F1FB9426-A625-4A96-AF14-06F3EFE524B1}" presName="composite2" presStyleCnt="0"/>
      <dgm:spPr/>
    </dgm:pt>
    <dgm:pt modelId="{272D1A08-6A06-486A-9A20-3924CEF87243}" type="pres">
      <dgm:prSet presAssocID="{F1FB9426-A625-4A96-AF14-06F3EFE524B1}" presName="background2" presStyleLbl="node2" presStyleIdx="2" presStyleCnt="3"/>
      <dgm:spPr/>
    </dgm:pt>
    <dgm:pt modelId="{27E88EA7-0085-4318-BE1F-1EB3B14C7AD3}" type="pres">
      <dgm:prSet presAssocID="{F1FB9426-A625-4A96-AF14-06F3EFE524B1}" presName="text2" presStyleLbl="fgAcc2" presStyleIdx="2" presStyleCnt="3" custScaleX="245950" custScaleY="315859" custLinFactNeighborX="-61073" custLinFactNeighborY="2687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6056F3F-2C01-4635-BF0B-2B9DE3200A78}" type="pres">
      <dgm:prSet presAssocID="{F1FB9426-A625-4A96-AF14-06F3EFE524B1}" presName="hierChild3" presStyleCnt="0"/>
      <dgm:spPr/>
    </dgm:pt>
    <dgm:pt modelId="{572CDD8F-5FB6-4939-A144-EB07C9837234}" type="pres">
      <dgm:prSet presAssocID="{F3C1A158-DA41-417A-A30D-E98D77358E5C}" presName="Name17" presStyleLbl="parChTrans1D3" presStyleIdx="3" presStyleCnt="6"/>
      <dgm:spPr/>
      <dgm:t>
        <a:bodyPr/>
        <a:lstStyle/>
        <a:p>
          <a:endParaRPr lang="fr-FR"/>
        </a:p>
      </dgm:t>
    </dgm:pt>
    <dgm:pt modelId="{CF22C0FD-E3C0-441E-8AB8-428131E95833}" type="pres">
      <dgm:prSet presAssocID="{4C86C5DA-0369-47C3-84E4-2008B27DA8D0}" presName="hierRoot3" presStyleCnt="0"/>
      <dgm:spPr/>
    </dgm:pt>
    <dgm:pt modelId="{F6045687-678C-4593-8AA4-ACC4FF3F5BB1}" type="pres">
      <dgm:prSet presAssocID="{4C86C5DA-0369-47C3-84E4-2008B27DA8D0}" presName="composite3" presStyleCnt="0"/>
      <dgm:spPr/>
    </dgm:pt>
    <dgm:pt modelId="{2DACD822-1059-4004-AB15-22FA05656182}" type="pres">
      <dgm:prSet presAssocID="{4C86C5DA-0369-47C3-84E4-2008B27DA8D0}" presName="background3" presStyleLbl="node3" presStyleIdx="3" presStyleCnt="6"/>
      <dgm:spPr/>
    </dgm:pt>
    <dgm:pt modelId="{58426AD8-764A-4C94-90C5-2A478CFBE46C}" type="pres">
      <dgm:prSet presAssocID="{4C86C5DA-0369-47C3-84E4-2008B27DA8D0}" presName="text3" presStyleLbl="fgAcc3" presStyleIdx="3" presStyleCnt="6" custScaleX="189364" custScaleY="274969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D4CF187-15A8-4700-84E1-2072F73A1FAA}" type="pres">
      <dgm:prSet presAssocID="{4C86C5DA-0369-47C3-84E4-2008B27DA8D0}" presName="hierChild4" presStyleCnt="0"/>
      <dgm:spPr/>
    </dgm:pt>
    <dgm:pt modelId="{CEC4912B-D05A-44FE-A7C6-E530B4834410}" type="pres">
      <dgm:prSet presAssocID="{91251F2B-E6B6-47CD-9F7E-90553A66116C}" presName="Name17" presStyleLbl="parChTrans1D3" presStyleIdx="4" presStyleCnt="6"/>
      <dgm:spPr/>
      <dgm:t>
        <a:bodyPr/>
        <a:lstStyle/>
        <a:p>
          <a:endParaRPr lang="fr-FR"/>
        </a:p>
      </dgm:t>
    </dgm:pt>
    <dgm:pt modelId="{DD093920-14F2-41C1-B523-7FA3D4E3029A}" type="pres">
      <dgm:prSet presAssocID="{0246E5C7-9CA1-45EF-88D5-BAF3F61514E4}" presName="hierRoot3" presStyleCnt="0"/>
      <dgm:spPr/>
    </dgm:pt>
    <dgm:pt modelId="{3429CFC5-A7ED-401C-BDB4-17848D4632A5}" type="pres">
      <dgm:prSet presAssocID="{0246E5C7-9CA1-45EF-88D5-BAF3F61514E4}" presName="composite3" presStyleCnt="0"/>
      <dgm:spPr/>
    </dgm:pt>
    <dgm:pt modelId="{2FCAB697-92C9-4664-A292-5E6A54830BD9}" type="pres">
      <dgm:prSet presAssocID="{0246E5C7-9CA1-45EF-88D5-BAF3F61514E4}" presName="background3" presStyleLbl="node3" presStyleIdx="4" presStyleCnt="6"/>
      <dgm:spPr/>
    </dgm:pt>
    <dgm:pt modelId="{BEE4EA58-6485-46B8-86BE-E7B446F98E2E}" type="pres">
      <dgm:prSet presAssocID="{0246E5C7-9CA1-45EF-88D5-BAF3F61514E4}" presName="text3" presStyleLbl="fgAcc3" presStyleIdx="4" presStyleCnt="6" custScaleX="233699" custScaleY="263013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E7CF6AF-3152-4222-998A-B582286E32B5}" type="pres">
      <dgm:prSet presAssocID="{0246E5C7-9CA1-45EF-88D5-BAF3F61514E4}" presName="hierChild4" presStyleCnt="0"/>
      <dgm:spPr/>
    </dgm:pt>
    <dgm:pt modelId="{52A8B277-CF18-442E-978B-433753990E68}" type="pres">
      <dgm:prSet presAssocID="{227741C3-39E6-454D-AD68-281FAE964BD9}" presName="Name17" presStyleLbl="parChTrans1D3" presStyleIdx="5" presStyleCnt="6"/>
      <dgm:spPr/>
      <dgm:t>
        <a:bodyPr/>
        <a:lstStyle/>
        <a:p>
          <a:endParaRPr lang="fr-FR"/>
        </a:p>
      </dgm:t>
    </dgm:pt>
    <dgm:pt modelId="{47D2822F-6654-4C51-8953-8369CA629B7E}" type="pres">
      <dgm:prSet presAssocID="{86DDF4DF-7496-42EA-B234-634344356D9E}" presName="hierRoot3" presStyleCnt="0"/>
      <dgm:spPr/>
    </dgm:pt>
    <dgm:pt modelId="{3BD8879B-6FE8-48D0-9CDD-A864FBFD2963}" type="pres">
      <dgm:prSet presAssocID="{86DDF4DF-7496-42EA-B234-634344356D9E}" presName="composite3" presStyleCnt="0"/>
      <dgm:spPr/>
    </dgm:pt>
    <dgm:pt modelId="{DF3524D7-0ACC-4A79-A4E7-67EB5F65CBCD}" type="pres">
      <dgm:prSet presAssocID="{86DDF4DF-7496-42EA-B234-634344356D9E}" presName="background3" presStyleLbl="node3" presStyleIdx="5" presStyleCnt="6"/>
      <dgm:spPr/>
    </dgm:pt>
    <dgm:pt modelId="{CE14B9AF-F172-46D4-B242-C18E0395E1C9}" type="pres">
      <dgm:prSet presAssocID="{86DDF4DF-7496-42EA-B234-634344356D9E}" presName="text3" presStyleLbl="fgAcc3" presStyleIdx="5" presStyleCnt="6" custScaleY="262362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0480F0BA-1BBD-4AE3-B800-6B14FC72DB6B}" type="pres">
      <dgm:prSet presAssocID="{86DDF4DF-7496-42EA-B234-634344356D9E}" presName="hierChild4" presStyleCnt="0"/>
      <dgm:spPr/>
    </dgm:pt>
  </dgm:ptLst>
  <dgm:cxnLst>
    <dgm:cxn modelId="{2F836720-4587-4FCA-AACE-490299D4BE1C}" srcId="{FE02D39B-6B6F-4089-B88D-92BF871A1D10}" destId="{B27B532D-02E1-4DA9-93C2-FB660D952649}" srcOrd="0" destOrd="0" parTransId="{0E7BEA69-1F75-4CAF-9D37-682508A8909A}" sibTransId="{542390D9-89B5-4049-AC5A-1BFD1F7CD0A4}"/>
    <dgm:cxn modelId="{F6675D87-5E0F-4365-A7AD-D26BAB59BB52}" type="presOf" srcId="{FE02D39B-6B6F-4089-B88D-92BF871A1D10}" destId="{793B6F58-9498-4819-B5A7-D14F3C6F7DAF}" srcOrd="0" destOrd="0" presId="urn:microsoft.com/office/officeart/2005/8/layout/hierarchy1"/>
    <dgm:cxn modelId="{0A6F691A-B487-478D-B98C-E1AB9DDAE348}" type="presOf" srcId="{0E7BEA69-1F75-4CAF-9D37-682508A8909A}" destId="{7305C55E-52CE-4465-B9EE-82EA56BED2BA}" srcOrd="0" destOrd="0" presId="urn:microsoft.com/office/officeart/2005/8/layout/hierarchy1"/>
    <dgm:cxn modelId="{50501D69-B44D-4289-A673-3334398E6965}" srcId="{F1FB9426-A625-4A96-AF14-06F3EFE524B1}" destId="{0246E5C7-9CA1-45EF-88D5-BAF3F61514E4}" srcOrd="1" destOrd="0" parTransId="{91251F2B-E6B6-47CD-9F7E-90553A66116C}" sibTransId="{19E53CEE-881E-4D02-A595-6FD6F4E43113}"/>
    <dgm:cxn modelId="{67E3858A-C68D-4702-A2A2-B582425A5623}" type="presOf" srcId="{FEA7C436-8DDF-4605-9A15-55C7FF55AED3}" destId="{9F9EC699-88B5-4B73-8CF9-31D3B1C7C635}" srcOrd="0" destOrd="0" presId="urn:microsoft.com/office/officeart/2005/8/layout/hierarchy1"/>
    <dgm:cxn modelId="{206219B8-2095-459D-8737-CB84A14C0D81}" srcId="{FE02D39B-6B6F-4089-B88D-92BF871A1D10}" destId="{533FB05C-9142-471F-AB3A-779E35845268}" srcOrd="2" destOrd="0" parTransId="{EC2FFD3E-A3A2-43D9-AE88-D4A33E2A1302}" sibTransId="{5B2024B9-8F25-4A0E-BD36-56D979A97210}"/>
    <dgm:cxn modelId="{121782AF-AB08-4C76-8CBD-FC813A019069}" type="presOf" srcId="{86DDF4DF-7496-42EA-B234-634344356D9E}" destId="{CE14B9AF-F172-46D4-B242-C18E0395E1C9}" srcOrd="0" destOrd="0" presId="urn:microsoft.com/office/officeart/2005/8/layout/hierarchy1"/>
    <dgm:cxn modelId="{E5B69435-99D8-496B-9FF9-7F2D1B9591D5}" type="presOf" srcId="{B27B532D-02E1-4DA9-93C2-FB660D952649}" destId="{E5ACC492-D7CE-4839-9A79-8DD4EEF362F7}" srcOrd="0" destOrd="0" presId="urn:microsoft.com/office/officeart/2005/8/layout/hierarchy1"/>
    <dgm:cxn modelId="{5987E435-AB2B-488A-A932-08963570AD30}" type="presOf" srcId="{EC2FFD3E-A3A2-43D9-AE88-D4A33E2A1302}" destId="{62A482F1-CD4D-454B-9684-9EA91111B131}" srcOrd="0" destOrd="0" presId="urn:microsoft.com/office/officeart/2005/8/layout/hierarchy1"/>
    <dgm:cxn modelId="{ECDED06F-3600-4DE3-87BE-94DBF8A7464C}" srcId="{064EBA1B-04B5-4832-A782-0EDB17473C8C}" destId="{E15640A1-4E78-4CC1-91D9-3F213C4D707A}" srcOrd="0" destOrd="0" parTransId="{ECA7D864-C149-40AC-9AEF-CE42A98439A1}" sibTransId="{0FEF3D3F-91F5-4AD5-B3E5-AE67F17D5C74}"/>
    <dgm:cxn modelId="{10A83F93-52E7-43C8-B562-235F12BB5FF6}" type="presOf" srcId="{0246E5C7-9CA1-45EF-88D5-BAF3F61514E4}" destId="{BEE4EA58-6485-46B8-86BE-E7B446F98E2E}" srcOrd="0" destOrd="0" presId="urn:microsoft.com/office/officeart/2005/8/layout/hierarchy1"/>
    <dgm:cxn modelId="{305E0470-C05E-4A1C-9A34-D2F8DA26778E}" type="presOf" srcId="{227741C3-39E6-454D-AD68-281FAE964BD9}" destId="{52A8B277-CF18-442E-978B-433753990E68}" srcOrd="0" destOrd="0" presId="urn:microsoft.com/office/officeart/2005/8/layout/hierarchy1"/>
    <dgm:cxn modelId="{999113FF-6BB8-4D5D-A4E8-2ACC43FB325A}" srcId="{E15640A1-4E78-4CC1-91D9-3F213C4D707A}" destId="{FE02D39B-6B6F-4089-B88D-92BF871A1D10}" srcOrd="1" destOrd="0" parTransId="{FEA7C436-8DDF-4605-9A15-55C7FF55AED3}" sibTransId="{74C170D5-3D68-45F3-801E-84B197C4990C}"/>
    <dgm:cxn modelId="{FCD0A850-C962-4538-BF62-89197176D206}" type="presOf" srcId="{533FB05C-9142-471F-AB3A-779E35845268}" destId="{9F7764AE-2537-44FE-AB71-C10C31684496}" srcOrd="0" destOrd="0" presId="urn:microsoft.com/office/officeart/2005/8/layout/hierarchy1"/>
    <dgm:cxn modelId="{A1CC19B8-179B-46FF-BD02-D9AA079339C1}" srcId="{FE02D39B-6B6F-4089-B88D-92BF871A1D10}" destId="{D41161C1-53DC-4E25-B6D8-558483DA507D}" srcOrd="1" destOrd="0" parTransId="{50CD2348-4139-46A6-89D6-27C9A8CAFA37}" sibTransId="{2E491C1D-1C3E-40A0-841C-9BCD6B21877E}"/>
    <dgm:cxn modelId="{33CE951A-F5FD-4A13-BE76-A031A256E86B}" type="presOf" srcId="{F3C1A158-DA41-417A-A30D-E98D77358E5C}" destId="{572CDD8F-5FB6-4939-A144-EB07C9837234}" srcOrd="0" destOrd="0" presId="urn:microsoft.com/office/officeart/2005/8/layout/hierarchy1"/>
    <dgm:cxn modelId="{BE7CEF5D-45DB-4523-9D27-84A1C3BF3427}" type="presOf" srcId="{7E90C986-83D1-4EDC-9786-C8EEE5150256}" destId="{419C2D83-663A-46F8-A835-E35B94505877}" srcOrd="0" destOrd="0" presId="urn:microsoft.com/office/officeart/2005/8/layout/hierarchy1"/>
    <dgm:cxn modelId="{376B1844-F469-4F54-9FBE-666535500A43}" type="presOf" srcId="{91251F2B-E6B6-47CD-9F7E-90553A66116C}" destId="{CEC4912B-D05A-44FE-A7C6-E530B4834410}" srcOrd="0" destOrd="0" presId="urn:microsoft.com/office/officeart/2005/8/layout/hierarchy1"/>
    <dgm:cxn modelId="{F0FEB5B7-C391-43F1-9787-ABC24CE8FD8C}" type="presOf" srcId="{064EBA1B-04B5-4832-A782-0EDB17473C8C}" destId="{0187BC31-A013-4A8E-8BAD-B004CBFFE0E8}" srcOrd="0" destOrd="0" presId="urn:microsoft.com/office/officeart/2005/8/layout/hierarchy1"/>
    <dgm:cxn modelId="{F4760F97-B964-4CFE-AFCA-912235B0C217}" type="presOf" srcId="{4C86C5DA-0369-47C3-84E4-2008B27DA8D0}" destId="{58426AD8-764A-4C94-90C5-2A478CFBE46C}" srcOrd="0" destOrd="0" presId="urn:microsoft.com/office/officeart/2005/8/layout/hierarchy1"/>
    <dgm:cxn modelId="{4D1FF903-CC2D-4682-853B-783EEE503E52}" srcId="{E15640A1-4E78-4CC1-91D9-3F213C4D707A}" destId="{FE0A975D-C0B1-4DA3-8151-D2BF8B0D4815}" srcOrd="0" destOrd="0" parTransId="{7E90C986-83D1-4EDC-9786-C8EEE5150256}" sibTransId="{BF837306-DED3-4D9D-8114-4589A07EFEBF}"/>
    <dgm:cxn modelId="{4A67EF6C-84E3-49C3-BBCE-435C4D2DAF93}" srcId="{F1FB9426-A625-4A96-AF14-06F3EFE524B1}" destId="{4C86C5DA-0369-47C3-84E4-2008B27DA8D0}" srcOrd="0" destOrd="0" parTransId="{F3C1A158-DA41-417A-A30D-E98D77358E5C}" sibTransId="{0C53F362-822A-4B58-8D9F-16FBE709E461}"/>
    <dgm:cxn modelId="{02D209CD-F87F-4044-9E99-B9C35B0D8934}" type="presOf" srcId="{1FFCEDEF-B19C-4E9A-96C3-A6D2C953C466}" destId="{419EF044-912B-4EED-A84D-A4FF00EFB4E0}" srcOrd="0" destOrd="0" presId="urn:microsoft.com/office/officeart/2005/8/layout/hierarchy1"/>
    <dgm:cxn modelId="{635D40F6-FF54-4AA7-AACC-5FC4FBE645B1}" type="presOf" srcId="{F1FB9426-A625-4A96-AF14-06F3EFE524B1}" destId="{27E88EA7-0085-4318-BE1F-1EB3B14C7AD3}" srcOrd="0" destOrd="0" presId="urn:microsoft.com/office/officeart/2005/8/layout/hierarchy1"/>
    <dgm:cxn modelId="{8AC5F738-D6B0-4803-BC56-D44AC710D3AC}" type="presOf" srcId="{50CD2348-4139-46A6-89D6-27C9A8CAFA37}" destId="{B1D2BC72-C8C3-4F76-BCB0-91F4C79503D1}" srcOrd="0" destOrd="0" presId="urn:microsoft.com/office/officeart/2005/8/layout/hierarchy1"/>
    <dgm:cxn modelId="{752D0236-C16F-4AA8-8ADB-8F13F1A150AC}" srcId="{F1FB9426-A625-4A96-AF14-06F3EFE524B1}" destId="{86DDF4DF-7496-42EA-B234-634344356D9E}" srcOrd="2" destOrd="0" parTransId="{227741C3-39E6-454D-AD68-281FAE964BD9}" sibTransId="{641EFCFE-696C-4DC4-AC88-BE497BC8649E}"/>
    <dgm:cxn modelId="{7DBB613C-1E43-43D4-A8FC-39D3ED56E408}" type="presOf" srcId="{E15640A1-4E78-4CC1-91D9-3F213C4D707A}" destId="{4AFC6ADB-A933-4274-9B8A-5AC135AA8E01}" srcOrd="0" destOrd="0" presId="urn:microsoft.com/office/officeart/2005/8/layout/hierarchy1"/>
    <dgm:cxn modelId="{F57C62B6-8473-4D22-BF02-C1842CE40DD5}" type="presOf" srcId="{FE0A975D-C0B1-4DA3-8151-D2BF8B0D4815}" destId="{7D78EF03-9852-4D0A-A87D-269B304C177B}" srcOrd="0" destOrd="0" presId="urn:microsoft.com/office/officeart/2005/8/layout/hierarchy1"/>
    <dgm:cxn modelId="{87EEFAB8-6E95-44F8-8454-25CE921169F0}" type="presOf" srcId="{D41161C1-53DC-4E25-B6D8-558483DA507D}" destId="{68E9C7F4-1552-4113-8D31-7E12659C2AA3}" srcOrd="0" destOrd="0" presId="urn:microsoft.com/office/officeart/2005/8/layout/hierarchy1"/>
    <dgm:cxn modelId="{771D16BA-B168-4A12-8A02-EFD10374089D}" srcId="{E15640A1-4E78-4CC1-91D9-3F213C4D707A}" destId="{F1FB9426-A625-4A96-AF14-06F3EFE524B1}" srcOrd="2" destOrd="0" parTransId="{1FFCEDEF-B19C-4E9A-96C3-A6D2C953C466}" sibTransId="{D3059CCD-3C4D-4BF7-AD29-76B77B1D80C4}"/>
    <dgm:cxn modelId="{88D97DE7-AB62-4D12-A0CD-94554598A738}" type="presParOf" srcId="{0187BC31-A013-4A8E-8BAD-B004CBFFE0E8}" destId="{6F535BFE-48C5-45DB-81F2-24D3CFF3CA7F}" srcOrd="0" destOrd="0" presId="urn:microsoft.com/office/officeart/2005/8/layout/hierarchy1"/>
    <dgm:cxn modelId="{564D9E73-E2A9-4FE4-82D5-B6D3B75649C8}" type="presParOf" srcId="{6F535BFE-48C5-45DB-81F2-24D3CFF3CA7F}" destId="{C54BFE5D-F4E8-4EFD-BAFA-FADEFA1961C1}" srcOrd="0" destOrd="0" presId="urn:microsoft.com/office/officeart/2005/8/layout/hierarchy1"/>
    <dgm:cxn modelId="{98D6A9DF-6A66-4CE1-BF25-7BCD8DBF0983}" type="presParOf" srcId="{C54BFE5D-F4E8-4EFD-BAFA-FADEFA1961C1}" destId="{335DCD4E-C0BD-4777-BF5E-527CE13CBFF5}" srcOrd="0" destOrd="0" presId="urn:microsoft.com/office/officeart/2005/8/layout/hierarchy1"/>
    <dgm:cxn modelId="{D81EDB36-E10C-424A-93D8-52AD9983F68C}" type="presParOf" srcId="{C54BFE5D-F4E8-4EFD-BAFA-FADEFA1961C1}" destId="{4AFC6ADB-A933-4274-9B8A-5AC135AA8E01}" srcOrd="1" destOrd="0" presId="urn:microsoft.com/office/officeart/2005/8/layout/hierarchy1"/>
    <dgm:cxn modelId="{4250DFB2-817A-40EF-8F3F-52296B59F5BB}" type="presParOf" srcId="{6F535BFE-48C5-45DB-81F2-24D3CFF3CA7F}" destId="{2348281D-0788-4A9D-B0DF-2574F37F1599}" srcOrd="1" destOrd="0" presId="urn:microsoft.com/office/officeart/2005/8/layout/hierarchy1"/>
    <dgm:cxn modelId="{A2FE1D63-833F-4F97-A441-0526B7870DB6}" type="presParOf" srcId="{2348281D-0788-4A9D-B0DF-2574F37F1599}" destId="{419C2D83-663A-46F8-A835-E35B94505877}" srcOrd="0" destOrd="0" presId="urn:microsoft.com/office/officeart/2005/8/layout/hierarchy1"/>
    <dgm:cxn modelId="{7C29298B-AC6D-4396-B6F8-F2315E8EB15D}" type="presParOf" srcId="{2348281D-0788-4A9D-B0DF-2574F37F1599}" destId="{458B0843-F406-4BFB-8F83-8899B5E7793F}" srcOrd="1" destOrd="0" presId="urn:microsoft.com/office/officeart/2005/8/layout/hierarchy1"/>
    <dgm:cxn modelId="{042375DF-3473-461F-BE0D-73B838D7865F}" type="presParOf" srcId="{458B0843-F406-4BFB-8F83-8899B5E7793F}" destId="{76AEF671-D715-4DB3-8BB2-840A1C530D65}" srcOrd="0" destOrd="0" presId="urn:microsoft.com/office/officeart/2005/8/layout/hierarchy1"/>
    <dgm:cxn modelId="{D41F456D-7B82-4033-8767-C3DD2895B4D6}" type="presParOf" srcId="{76AEF671-D715-4DB3-8BB2-840A1C530D65}" destId="{74BFC6CC-B2FE-412C-9DA0-533A21A61218}" srcOrd="0" destOrd="0" presId="urn:microsoft.com/office/officeart/2005/8/layout/hierarchy1"/>
    <dgm:cxn modelId="{4A97E956-0DE8-43EA-BC7F-3445B082D930}" type="presParOf" srcId="{76AEF671-D715-4DB3-8BB2-840A1C530D65}" destId="{7D78EF03-9852-4D0A-A87D-269B304C177B}" srcOrd="1" destOrd="0" presId="urn:microsoft.com/office/officeart/2005/8/layout/hierarchy1"/>
    <dgm:cxn modelId="{FA667E9E-3555-4F9F-B74F-7C58B64993E1}" type="presParOf" srcId="{458B0843-F406-4BFB-8F83-8899B5E7793F}" destId="{9040E84C-0B4E-4160-91D3-411EB41298C1}" srcOrd="1" destOrd="0" presId="urn:microsoft.com/office/officeart/2005/8/layout/hierarchy1"/>
    <dgm:cxn modelId="{7825F231-1055-4A32-B33F-C486EE4F8D2F}" type="presParOf" srcId="{2348281D-0788-4A9D-B0DF-2574F37F1599}" destId="{9F9EC699-88B5-4B73-8CF9-31D3B1C7C635}" srcOrd="2" destOrd="0" presId="urn:microsoft.com/office/officeart/2005/8/layout/hierarchy1"/>
    <dgm:cxn modelId="{FF5810F6-D4E8-4A2E-BE34-BE88EBD22747}" type="presParOf" srcId="{2348281D-0788-4A9D-B0DF-2574F37F1599}" destId="{388B7F09-F357-4F7E-98A7-5A859A2A30D4}" srcOrd="3" destOrd="0" presId="urn:microsoft.com/office/officeart/2005/8/layout/hierarchy1"/>
    <dgm:cxn modelId="{C1A68226-3C73-4968-90F1-A8D9DAC7E531}" type="presParOf" srcId="{388B7F09-F357-4F7E-98A7-5A859A2A30D4}" destId="{0D07F7BB-E032-4098-88AA-E0C50DCEB3B7}" srcOrd="0" destOrd="0" presId="urn:microsoft.com/office/officeart/2005/8/layout/hierarchy1"/>
    <dgm:cxn modelId="{79D3841A-0641-44C7-BFAC-8DB3180D6E3E}" type="presParOf" srcId="{0D07F7BB-E032-4098-88AA-E0C50DCEB3B7}" destId="{42099C8B-D9B3-42B0-91CA-3F029FAD1EB2}" srcOrd="0" destOrd="0" presId="urn:microsoft.com/office/officeart/2005/8/layout/hierarchy1"/>
    <dgm:cxn modelId="{8B85928F-14F5-4C7E-9E39-577C3FD56B58}" type="presParOf" srcId="{0D07F7BB-E032-4098-88AA-E0C50DCEB3B7}" destId="{793B6F58-9498-4819-B5A7-D14F3C6F7DAF}" srcOrd="1" destOrd="0" presId="urn:microsoft.com/office/officeart/2005/8/layout/hierarchy1"/>
    <dgm:cxn modelId="{132FBC90-1A19-428C-901D-1BE556DB91BD}" type="presParOf" srcId="{388B7F09-F357-4F7E-98A7-5A859A2A30D4}" destId="{EABB15D0-DAD6-4B09-BCE3-16219809567E}" srcOrd="1" destOrd="0" presId="urn:microsoft.com/office/officeart/2005/8/layout/hierarchy1"/>
    <dgm:cxn modelId="{709C0213-CC0E-4ED3-BA39-EE225FFB5548}" type="presParOf" srcId="{EABB15D0-DAD6-4B09-BCE3-16219809567E}" destId="{7305C55E-52CE-4465-B9EE-82EA56BED2BA}" srcOrd="0" destOrd="0" presId="urn:microsoft.com/office/officeart/2005/8/layout/hierarchy1"/>
    <dgm:cxn modelId="{886319ED-3A63-474D-BCE1-C9FF65F293C2}" type="presParOf" srcId="{EABB15D0-DAD6-4B09-BCE3-16219809567E}" destId="{8AEFE12C-C15D-4F4B-9F02-CD117419DB5C}" srcOrd="1" destOrd="0" presId="urn:microsoft.com/office/officeart/2005/8/layout/hierarchy1"/>
    <dgm:cxn modelId="{5FD29F4A-C13D-4366-A092-A79A1EAA15A5}" type="presParOf" srcId="{8AEFE12C-C15D-4F4B-9F02-CD117419DB5C}" destId="{5E7AE27C-DE2C-40A3-9287-7F455B621DE6}" srcOrd="0" destOrd="0" presId="urn:microsoft.com/office/officeart/2005/8/layout/hierarchy1"/>
    <dgm:cxn modelId="{786F732B-94AC-4348-992A-195C026026AD}" type="presParOf" srcId="{5E7AE27C-DE2C-40A3-9287-7F455B621DE6}" destId="{49330FC3-32E2-42EA-A9F6-EC303B49FDC1}" srcOrd="0" destOrd="0" presId="urn:microsoft.com/office/officeart/2005/8/layout/hierarchy1"/>
    <dgm:cxn modelId="{17514E3D-01AE-4CE8-AE8B-54D689C234B8}" type="presParOf" srcId="{5E7AE27C-DE2C-40A3-9287-7F455B621DE6}" destId="{E5ACC492-D7CE-4839-9A79-8DD4EEF362F7}" srcOrd="1" destOrd="0" presId="urn:microsoft.com/office/officeart/2005/8/layout/hierarchy1"/>
    <dgm:cxn modelId="{4F552E0C-9E83-4E7A-95F8-E0937606BDFF}" type="presParOf" srcId="{8AEFE12C-C15D-4F4B-9F02-CD117419DB5C}" destId="{7BCB6458-B2E9-49E3-9840-A456193A5505}" srcOrd="1" destOrd="0" presId="urn:microsoft.com/office/officeart/2005/8/layout/hierarchy1"/>
    <dgm:cxn modelId="{D3DED9C1-7FD1-4718-8AC3-B6B529FFE5FE}" type="presParOf" srcId="{EABB15D0-DAD6-4B09-BCE3-16219809567E}" destId="{B1D2BC72-C8C3-4F76-BCB0-91F4C79503D1}" srcOrd="2" destOrd="0" presId="urn:microsoft.com/office/officeart/2005/8/layout/hierarchy1"/>
    <dgm:cxn modelId="{D5960F6F-A193-467E-8373-A0466F68D12A}" type="presParOf" srcId="{EABB15D0-DAD6-4B09-BCE3-16219809567E}" destId="{6F9D10AB-BAA9-4870-9C8F-C222AAF92C6D}" srcOrd="3" destOrd="0" presId="urn:microsoft.com/office/officeart/2005/8/layout/hierarchy1"/>
    <dgm:cxn modelId="{98555480-F36D-4F31-918C-513E433A87FB}" type="presParOf" srcId="{6F9D10AB-BAA9-4870-9C8F-C222AAF92C6D}" destId="{6F1F987C-5999-427B-A9B8-2E9DF379E69F}" srcOrd="0" destOrd="0" presId="urn:microsoft.com/office/officeart/2005/8/layout/hierarchy1"/>
    <dgm:cxn modelId="{1C1CAADA-39D7-4443-8F35-CB5984CB4974}" type="presParOf" srcId="{6F1F987C-5999-427B-A9B8-2E9DF379E69F}" destId="{672935FA-89FB-4C81-AB62-11559AD6C7C0}" srcOrd="0" destOrd="0" presId="urn:microsoft.com/office/officeart/2005/8/layout/hierarchy1"/>
    <dgm:cxn modelId="{ADA5AF48-7E07-41F0-9BD7-C07815E1FE7A}" type="presParOf" srcId="{6F1F987C-5999-427B-A9B8-2E9DF379E69F}" destId="{68E9C7F4-1552-4113-8D31-7E12659C2AA3}" srcOrd="1" destOrd="0" presId="urn:microsoft.com/office/officeart/2005/8/layout/hierarchy1"/>
    <dgm:cxn modelId="{7D071461-BC9D-4C20-AF91-DEB9F01940E9}" type="presParOf" srcId="{6F9D10AB-BAA9-4870-9C8F-C222AAF92C6D}" destId="{ED67E9CE-37AE-4FEB-BCEC-7B3D3BC2C46B}" srcOrd="1" destOrd="0" presId="urn:microsoft.com/office/officeart/2005/8/layout/hierarchy1"/>
    <dgm:cxn modelId="{2F30FF91-E574-42F3-B007-79C564AE089C}" type="presParOf" srcId="{EABB15D0-DAD6-4B09-BCE3-16219809567E}" destId="{62A482F1-CD4D-454B-9684-9EA91111B131}" srcOrd="4" destOrd="0" presId="urn:microsoft.com/office/officeart/2005/8/layout/hierarchy1"/>
    <dgm:cxn modelId="{9F4E8624-216F-4BF3-877B-E98FA97CE3AF}" type="presParOf" srcId="{EABB15D0-DAD6-4B09-BCE3-16219809567E}" destId="{642DEA95-07C6-45E0-AC63-C045A51C22CC}" srcOrd="5" destOrd="0" presId="urn:microsoft.com/office/officeart/2005/8/layout/hierarchy1"/>
    <dgm:cxn modelId="{C5E927DE-C89E-4586-A57F-5FAEAB752B11}" type="presParOf" srcId="{642DEA95-07C6-45E0-AC63-C045A51C22CC}" destId="{EDBFF055-00B3-4227-A1C0-D98009FDB4D4}" srcOrd="0" destOrd="0" presId="urn:microsoft.com/office/officeart/2005/8/layout/hierarchy1"/>
    <dgm:cxn modelId="{79B5C1C2-580D-4A53-B126-13DE45641F9E}" type="presParOf" srcId="{EDBFF055-00B3-4227-A1C0-D98009FDB4D4}" destId="{1BBB06C8-E99A-440F-8BD1-80513693BC77}" srcOrd="0" destOrd="0" presId="urn:microsoft.com/office/officeart/2005/8/layout/hierarchy1"/>
    <dgm:cxn modelId="{6F333983-A9FB-4FB9-9AD2-32CE4BD58105}" type="presParOf" srcId="{EDBFF055-00B3-4227-A1C0-D98009FDB4D4}" destId="{9F7764AE-2537-44FE-AB71-C10C31684496}" srcOrd="1" destOrd="0" presId="urn:microsoft.com/office/officeart/2005/8/layout/hierarchy1"/>
    <dgm:cxn modelId="{6D5DEB30-9E4B-4466-AA16-D4B5B7F8BEBB}" type="presParOf" srcId="{642DEA95-07C6-45E0-AC63-C045A51C22CC}" destId="{6FDEACBA-8180-49D7-A1B9-9A43092FA285}" srcOrd="1" destOrd="0" presId="urn:microsoft.com/office/officeart/2005/8/layout/hierarchy1"/>
    <dgm:cxn modelId="{A4737FDC-C350-4F5C-B276-12A7B64FF46C}" type="presParOf" srcId="{2348281D-0788-4A9D-B0DF-2574F37F1599}" destId="{419EF044-912B-4EED-A84D-A4FF00EFB4E0}" srcOrd="4" destOrd="0" presId="urn:microsoft.com/office/officeart/2005/8/layout/hierarchy1"/>
    <dgm:cxn modelId="{1242157A-B7BE-4879-A9F4-77EFFB905485}" type="presParOf" srcId="{2348281D-0788-4A9D-B0DF-2574F37F1599}" destId="{5AA5B9C6-A347-4476-92BD-C7C62A132572}" srcOrd="5" destOrd="0" presId="urn:microsoft.com/office/officeart/2005/8/layout/hierarchy1"/>
    <dgm:cxn modelId="{76CE8660-EBC2-4708-9E3C-48072040264E}" type="presParOf" srcId="{5AA5B9C6-A347-4476-92BD-C7C62A132572}" destId="{A65685B3-69A5-4BF8-9965-DA4E9BB9D637}" srcOrd="0" destOrd="0" presId="urn:microsoft.com/office/officeart/2005/8/layout/hierarchy1"/>
    <dgm:cxn modelId="{2809FDF4-0F20-4E4C-B0E1-6916FB1DF01A}" type="presParOf" srcId="{A65685B3-69A5-4BF8-9965-DA4E9BB9D637}" destId="{272D1A08-6A06-486A-9A20-3924CEF87243}" srcOrd="0" destOrd="0" presId="urn:microsoft.com/office/officeart/2005/8/layout/hierarchy1"/>
    <dgm:cxn modelId="{FC4FE33D-D5CA-47BE-8EE5-AC5421977BED}" type="presParOf" srcId="{A65685B3-69A5-4BF8-9965-DA4E9BB9D637}" destId="{27E88EA7-0085-4318-BE1F-1EB3B14C7AD3}" srcOrd="1" destOrd="0" presId="urn:microsoft.com/office/officeart/2005/8/layout/hierarchy1"/>
    <dgm:cxn modelId="{E079DBDC-4CA7-47E7-8999-1341FCE5A860}" type="presParOf" srcId="{5AA5B9C6-A347-4476-92BD-C7C62A132572}" destId="{56056F3F-2C01-4635-BF0B-2B9DE3200A78}" srcOrd="1" destOrd="0" presId="urn:microsoft.com/office/officeart/2005/8/layout/hierarchy1"/>
    <dgm:cxn modelId="{69007F9C-A5F9-4EB7-B04C-B3CD3E66D52D}" type="presParOf" srcId="{56056F3F-2C01-4635-BF0B-2B9DE3200A78}" destId="{572CDD8F-5FB6-4939-A144-EB07C9837234}" srcOrd="0" destOrd="0" presId="urn:microsoft.com/office/officeart/2005/8/layout/hierarchy1"/>
    <dgm:cxn modelId="{D2FB1835-D240-42C6-A129-4A61F5A35F50}" type="presParOf" srcId="{56056F3F-2C01-4635-BF0B-2B9DE3200A78}" destId="{CF22C0FD-E3C0-441E-8AB8-428131E95833}" srcOrd="1" destOrd="0" presId="urn:microsoft.com/office/officeart/2005/8/layout/hierarchy1"/>
    <dgm:cxn modelId="{F493E3DC-444D-4BE8-BE72-FDC715564394}" type="presParOf" srcId="{CF22C0FD-E3C0-441E-8AB8-428131E95833}" destId="{F6045687-678C-4593-8AA4-ACC4FF3F5BB1}" srcOrd="0" destOrd="0" presId="urn:microsoft.com/office/officeart/2005/8/layout/hierarchy1"/>
    <dgm:cxn modelId="{D953E3B9-231F-4F0B-8A37-CEBEC28962D0}" type="presParOf" srcId="{F6045687-678C-4593-8AA4-ACC4FF3F5BB1}" destId="{2DACD822-1059-4004-AB15-22FA05656182}" srcOrd="0" destOrd="0" presId="urn:microsoft.com/office/officeart/2005/8/layout/hierarchy1"/>
    <dgm:cxn modelId="{1186A31F-2DAC-4773-864E-82473F6557E8}" type="presParOf" srcId="{F6045687-678C-4593-8AA4-ACC4FF3F5BB1}" destId="{58426AD8-764A-4C94-90C5-2A478CFBE46C}" srcOrd="1" destOrd="0" presId="urn:microsoft.com/office/officeart/2005/8/layout/hierarchy1"/>
    <dgm:cxn modelId="{B5A8FCBF-3339-4251-AB4F-676A9B18FCD7}" type="presParOf" srcId="{CF22C0FD-E3C0-441E-8AB8-428131E95833}" destId="{8D4CF187-15A8-4700-84E1-2072F73A1FAA}" srcOrd="1" destOrd="0" presId="urn:microsoft.com/office/officeart/2005/8/layout/hierarchy1"/>
    <dgm:cxn modelId="{72F6786F-9B4A-4013-8872-096057BC06AE}" type="presParOf" srcId="{56056F3F-2C01-4635-BF0B-2B9DE3200A78}" destId="{CEC4912B-D05A-44FE-A7C6-E530B4834410}" srcOrd="2" destOrd="0" presId="urn:microsoft.com/office/officeart/2005/8/layout/hierarchy1"/>
    <dgm:cxn modelId="{AE91DF94-DCB5-43A4-B552-2E3E9BBB9FE3}" type="presParOf" srcId="{56056F3F-2C01-4635-BF0B-2B9DE3200A78}" destId="{DD093920-14F2-41C1-B523-7FA3D4E3029A}" srcOrd="3" destOrd="0" presId="urn:microsoft.com/office/officeart/2005/8/layout/hierarchy1"/>
    <dgm:cxn modelId="{B4913E34-24FB-40E4-AC1F-EA70351D0AC0}" type="presParOf" srcId="{DD093920-14F2-41C1-B523-7FA3D4E3029A}" destId="{3429CFC5-A7ED-401C-BDB4-17848D4632A5}" srcOrd="0" destOrd="0" presId="urn:microsoft.com/office/officeart/2005/8/layout/hierarchy1"/>
    <dgm:cxn modelId="{88EB9566-1F62-4396-817F-07324514B915}" type="presParOf" srcId="{3429CFC5-A7ED-401C-BDB4-17848D4632A5}" destId="{2FCAB697-92C9-4664-A292-5E6A54830BD9}" srcOrd="0" destOrd="0" presId="urn:microsoft.com/office/officeart/2005/8/layout/hierarchy1"/>
    <dgm:cxn modelId="{8FA7E24A-87A1-473E-9435-618BE79C832A}" type="presParOf" srcId="{3429CFC5-A7ED-401C-BDB4-17848D4632A5}" destId="{BEE4EA58-6485-46B8-86BE-E7B446F98E2E}" srcOrd="1" destOrd="0" presId="urn:microsoft.com/office/officeart/2005/8/layout/hierarchy1"/>
    <dgm:cxn modelId="{30BE4DA2-1ADD-492F-8C6A-C4D6071077D1}" type="presParOf" srcId="{DD093920-14F2-41C1-B523-7FA3D4E3029A}" destId="{8E7CF6AF-3152-4222-998A-B582286E32B5}" srcOrd="1" destOrd="0" presId="urn:microsoft.com/office/officeart/2005/8/layout/hierarchy1"/>
    <dgm:cxn modelId="{77F2EDC8-5FDA-40EA-BA16-9E456D5B6260}" type="presParOf" srcId="{56056F3F-2C01-4635-BF0B-2B9DE3200A78}" destId="{52A8B277-CF18-442E-978B-433753990E68}" srcOrd="4" destOrd="0" presId="urn:microsoft.com/office/officeart/2005/8/layout/hierarchy1"/>
    <dgm:cxn modelId="{3534E67E-8BB6-4037-B057-BD8204A0F567}" type="presParOf" srcId="{56056F3F-2C01-4635-BF0B-2B9DE3200A78}" destId="{47D2822F-6654-4C51-8953-8369CA629B7E}" srcOrd="5" destOrd="0" presId="urn:microsoft.com/office/officeart/2005/8/layout/hierarchy1"/>
    <dgm:cxn modelId="{6E32AFE1-FC08-4B39-8BED-12596055EA71}" type="presParOf" srcId="{47D2822F-6654-4C51-8953-8369CA629B7E}" destId="{3BD8879B-6FE8-48D0-9CDD-A864FBFD2963}" srcOrd="0" destOrd="0" presId="urn:microsoft.com/office/officeart/2005/8/layout/hierarchy1"/>
    <dgm:cxn modelId="{0B4D157C-600D-4B5A-B0F9-201B0E4D1676}" type="presParOf" srcId="{3BD8879B-6FE8-48D0-9CDD-A864FBFD2963}" destId="{DF3524D7-0ACC-4A79-A4E7-67EB5F65CBCD}" srcOrd="0" destOrd="0" presId="urn:microsoft.com/office/officeart/2005/8/layout/hierarchy1"/>
    <dgm:cxn modelId="{F5C3ACA1-FDC9-4F25-B2B1-D98B3B0E86B0}" type="presParOf" srcId="{3BD8879B-6FE8-48D0-9CDD-A864FBFD2963}" destId="{CE14B9AF-F172-46D4-B242-C18E0395E1C9}" srcOrd="1" destOrd="0" presId="urn:microsoft.com/office/officeart/2005/8/layout/hierarchy1"/>
    <dgm:cxn modelId="{8B3A32A4-653C-4AFB-903D-4F06DF86B857}" type="presParOf" srcId="{47D2822F-6654-4C51-8953-8369CA629B7E}" destId="{0480F0BA-1BBD-4AE3-B800-6B14FC72DB6B}" srcOrd="1" destOrd="0" presId="urn:microsoft.com/office/officeart/2005/8/layout/hierarchy1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8BA988E-4C95-44F6-9E3A-5B99578AFC69}" type="doc">
      <dgm:prSet loTypeId="urn:microsoft.com/office/officeart/2005/8/layout/arrow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711591F-BD4F-43A9-B9CE-D840856B32A1}">
      <dgm:prSet phldrT="[Texte]"/>
      <dgm:spPr/>
      <dgm:t>
        <a:bodyPr/>
        <a:lstStyle/>
        <a:p>
          <a:r>
            <a:rPr lang="fr-FR" dirty="0" smtClean="0"/>
            <a:t>Sources de non-déterminisme</a:t>
          </a:r>
          <a:endParaRPr lang="fr-FR" dirty="0"/>
        </a:p>
      </dgm:t>
    </dgm:pt>
    <dgm:pt modelId="{251A5845-57F5-4A2B-9E13-8CD499795B5B}" type="parTrans" cxnId="{E08EEC35-8F1E-4C22-8594-0714E0743E18}">
      <dgm:prSet/>
      <dgm:spPr/>
      <dgm:t>
        <a:bodyPr/>
        <a:lstStyle/>
        <a:p>
          <a:endParaRPr lang="fr-FR"/>
        </a:p>
      </dgm:t>
    </dgm:pt>
    <dgm:pt modelId="{706E1C1E-C3BA-4B4F-B74A-4A7C4EAAAFBA}" type="sibTrans" cxnId="{E08EEC35-8F1E-4C22-8594-0714E0743E18}">
      <dgm:prSet/>
      <dgm:spPr/>
      <dgm:t>
        <a:bodyPr/>
        <a:lstStyle/>
        <a:p>
          <a:endParaRPr lang="fr-FR"/>
        </a:p>
      </dgm:t>
    </dgm:pt>
    <dgm:pt modelId="{E775C249-F95B-470A-AEE9-56E24E62352F}">
      <dgm:prSet phldrT="[Texte]"/>
      <dgm:spPr/>
      <dgm:t>
        <a:bodyPr/>
        <a:lstStyle/>
        <a:p>
          <a:r>
            <a:rPr lang="fr-FR" dirty="0" smtClean="0"/>
            <a:t>Probabilités</a:t>
          </a:r>
          <a:endParaRPr lang="fr-FR" dirty="0"/>
        </a:p>
      </dgm:t>
    </dgm:pt>
    <dgm:pt modelId="{D195E75D-BCB4-41FD-992A-BA775E878F13}" type="sibTrans" cxnId="{79FCBB06-6D5C-45A8-A771-982A62722457}">
      <dgm:prSet/>
      <dgm:spPr/>
      <dgm:t>
        <a:bodyPr/>
        <a:lstStyle/>
        <a:p>
          <a:endParaRPr lang="fr-FR"/>
        </a:p>
      </dgm:t>
    </dgm:pt>
    <dgm:pt modelId="{F72D4A60-1A21-4C85-840D-BC48CA11442D}" type="parTrans" cxnId="{79FCBB06-6D5C-45A8-A771-982A62722457}">
      <dgm:prSet/>
      <dgm:spPr/>
      <dgm:t>
        <a:bodyPr/>
        <a:lstStyle/>
        <a:p>
          <a:endParaRPr lang="fr-FR"/>
        </a:p>
      </dgm:t>
    </dgm:pt>
    <dgm:pt modelId="{87435FF1-3DA3-45A8-8E29-E10F19D7A1E3}" type="pres">
      <dgm:prSet presAssocID="{68BA988E-4C95-44F6-9E3A-5B99578AFC69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F3B251D-AF66-42D2-9BFC-CBA5FCB9BAEF}" type="pres">
      <dgm:prSet presAssocID="{68BA988E-4C95-44F6-9E3A-5B99578AFC69}" presName="divider" presStyleLbl="fgShp" presStyleIdx="0" presStyleCnt="1"/>
      <dgm:spPr/>
    </dgm:pt>
    <dgm:pt modelId="{267BB405-9C64-4898-8514-C1A0EADD5DE0}" type="pres">
      <dgm:prSet presAssocID="{E775C249-F95B-470A-AEE9-56E24E62352F}" presName="downArrow" presStyleLbl="node1" presStyleIdx="0" presStyleCnt="2" custScaleX="60284"/>
      <dgm:spPr/>
    </dgm:pt>
    <dgm:pt modelId="{D88031ED-4324-4D8B-8922-EC32120065CC}" type="pres">
      <dgm:prSet presAssocID="{E775C249-F95B-470A-AEE9-56E24E62352F}" presName="downArrowText" presStyleLbl="revTx" presStyleIdx="0" presStyleCnt="2" custScaleX="92163" custLinFactNeighborX="-594" custLinFactNeighborY="423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5167BF4-4589-4828-B705-27C6C2EE577B}" type="pres">
      <dgm:prSet presAssocID="{F711591F-BD4F-43A9-B9CE-D840856B32A1}" presName="upArrow" presStyleLbl="node1" presStyleIdx="1" presStyleCnt="2" custScaleX="57506" custLinFactNeighborX="3534" custLinFactNeighborY="-1269"/>
      <dgm:spPr/>
    </dgm:pt>
    <dgm:pt modelId="{27B5DA78-8D3F-4C08-946B-20ABC8FF4427}" type="pres">
      <dgm:prSet presAssocID="{F711591F-BD4F-43A9-B9CE-D840856B32A1}" presName="upArrowText" presStyleLbl="revTx" presStyleIdx="1" presStyleCnt="2" custScaleX="234809" custLinFactNeighborX="3966" custLinFactNeighborY="-3764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77B8DAB-853B-4CBC-81DC-A30AB2E024E6}" type="presOf" srcId="{F711591F-BD4F-43A9-B9CE-D840856B32A1}" destId="{27B5DA78-8D3F-4C08-946B-20ABC8FF4427}" srcOrd="0" destOrd="0" presId="urn:microsoft.com/office/officeart/2005/8/layout/arrow3"/>
    <dgm:cxn modelId="{79FCBB06-6D5C-45A8-A771-982A62722457}" srcId="{68BA988E-4C95-44F6-9E3A-5B99578AFC69}" destId="{E775C249-F95B-470A-AEE9-56E24E62352F}" srcOrd="0" destOrd="0" parTransId="{F72D4A60-1A21-4C85-840D-BC48CA11442D}" sibTransId="{D195E75D-BCB4-41FD-992A-BA775E878F13}"/>
    <dgm:cxn modelId="{63399C22-485F-40C7-A38F-2C95BB6AD7DB}" type="presOf" srcId="{E775C249-F95B-470A-AEE9-56E24E62352F}" destId="{D88031ED-4324-4D8B-8922-EC32120065CC}" srcOrd="0" destOrd="0" presId="urn:microsoft.com/office/officeart/2005/8/layout/arrow3"/>
    <dgm:cxn modelId="{E08EEC35-8F1E-4C22-8594-0714E0743E18}" srcId="{68BA988E-4C95-44F6-9E3A-5B99578AFC69}" destId="{F711591F-BD4F-43A9-B9CE-D840856B32A1}" srcOrd="1" destOrd="0" parTransId="{251A5845-57F5-4A2B-9E13-8CD499795B5B}" sibTransId="{706E1C1E-C3BA-4B4F-B74A-4A7C4EAAAFBA}"/>
    <dgm:cxn modelId="{3899BBB7-F602-4AF7-8D19-7F59673FF60E}" type="presOf" srcId="{68BA988E-4C95-44F6-9E3A-5B99578AFC69}" destId="{87435FF1-3DA3-45A8-8E29-E10F19D7A1E3}" srcOrd="0" destOrd="0" presId="urn:microsoft.com/office/officeart/2005/8/layout/arrow3"/>
    <dgm:cxn modelId="{C56A54AE-D3DF-468C-9EFE-307F901B9231}" type="presParOf" srcId="{87435FF1-3DA3-45A8-8E29-E10F19D7A1E3}" destId="{9F3B251D-AF66-42D2-9BFC-CBA5FCB9BAEF}" srcOrd="0" destOrd="0" presId="urn:microsoft.com/office/officeart/2005/8/layout/arrow3"/>
    <dgm:cxn modelId="{4AA84368-ED4A-4C6D-8477-65DAC6CFE1E8}" type="presParOf" srcId="{87435FF1-3DA3-45A8-8E29-E10F19D7A1E3}" destId="{267BB405-9C64-4898-8514-C1A0EADD5DE0}" srcOrd="1" destOrd="0" presId="urn:microsoft.com/office/officeart/2005/8/layout/arrow3"/>
    <dgm:cxn modelId="{7C6B08AB-DE8E-46C5-AD1E-B77E25AE780B}" type="presParOf" srcId="{87435FF1-3DA3-45A8-8E29-E10F19D7A1E3}" destId="{D88031ED-4324-4D8B-8922-EC32120065CC}" srcOrd="2" destOrd="0" presId="urn:microsoft.com/office/officeart/2005/8/layout/arrow3"/>
    <dgm:cxn modelId="{32DCD7B7-2A4B-4CA5-B479-00E3760999BF}" type="presParOf" srcId="{87435FF1-3DA3-45A8-8E29-E10F19D7A1E3}" destId="{95167BF4-4589-4828-B705-27C6C2EE577B}" srcOrd="3" destOrd="0" presId="urn:microsoft.com/office/officeart/2005/8/layout/arrow3"/>
    <dgm:cxn modelId="{57087732-F955-496A-97A6-F2F8B48F5A40}" type="presParOf" srcId="{87435FF1-3DA3-45A8-8E29-E10F19D7A1E3}" destId="{27B5DA78-8D3F-4C08-946B-20ABC8FF4427}" srcOrd="4" destOrd="0" presId="urn:microsoft.com/office/officeart/2005/8/layout/arrow3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068B0A2-9CBB-4167-8C54-9347930444B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4542D8C-9B7F-4DD0-B25E-15E15FDFDCF8}">
      <dgm:prSet phldrT="[Texte]"/>
      <dgm:spPr/>
      <dgm:t>
        <a:bodyPr/>
        <a:lstStyle/>
        <a:p>
          <a:r>
            <a:rPr lang="fr-FR" dirty="0" smtClean="0"/>
            <a:t>Sources de non-déterminisme</a:t>
          </a:r>
          <a:endParaRPr lang="fr-FR" dirty="0"/>
        </a:p>
      </dgm:t>
    </dgm:pt>
    <dgm:pt modelId="{C764DD68-9402-4FE5-8406-499078F0A668}" type="parTrans" cxnId="{49966E7C-D90D-4EC7-B549-4DD89236C256}">
      <dgm:prSet/>
      <dgm:spPr/>
      <dgm:t>
        <a:bodyPr/>
        <a:lstStyle/>
        <a:p>
          <a:endParaRPr lang="fr-FR"/>
        </a:p>
      </dgm:t>
    </dgm:pt>
    <dgm:pt modelId="{3CE3F1E9-6DFA-4089-A58E-0887E7037CA7}" type="sibTrans" cxnId="{49966E7C-D90D-4EC7-B549-4DD89236C256}">
      <dgm:prSet/>
      <dgm:spPr/>
      <dgm:t>
        <a:bodyPr/>
        <a:lstStyle/>
        <a:p>
          <a:endParaRPr lang="fr-FR"/>
        </a:p>
      </dgm:t>
    </dgm:pt>
    <dgm:pt modelId="{4E644AC2-1CB6-4147-A2A5-5719DB2FDA5C}">
      <dgm:prSet phldrT="[Texte]"/>
      <dgm:spPr/>
      <dgm:t>
        <a:bodyPr/>
        <a:lstStyle/>
        <a:p>
          <a:r>
            <a:rPr lang="fr-FR" dirty="0" smtClean="0"/>
            <a:t>Choix de </a:t>
          </a:r>
        </a:p>
        <a:p>
          <a:r>
            <a:rPr lang="fr-FR" dirty="0" smtClean="0"/>
            <a:t>l’événement </a:t>
          </a:r>
          <a:endParaRPr lang="fr-FR" dirty="0"/>
        </a:p>
      </dgm:t>
    </dgm:pt>
    <dgm:pt modelId="{0083CAA2-450A-416D-B331-883406B2F770}" type="parTrans" cxnId="{067395BB-087A-4D21-8F91-A90A6069E8C6}">
      <dgm:prSet/>
      <dgm:spPr/>
      <dgm:t>
        <a:bodyPr/>
        <a:lstStyle/>
        <a:p>
          <a:endParaRPr lang="fr-FR"/>
        </a:p>
      </dgm:t>
    </dgm:pt>
    <dgm:pt modelId="{1705C91B-C82F-4B25-9248-76C010E06931}" type="sibTrans" cxnId="{067395BB-087A-4D21-8F91-A90A6069E8C6}">
      <dgm:prSet/>
      <dgm:spPr/>
      <dgm:t>
        <a:bodyPr/>
        <a:lstStyle/>
        <a:p>
          <a:endParaRPr lang="fr-FR"/>
        </a:p>
      </dgm:t>
    </dgm:pt>
    <dgm:pt modelId="{13CFF60B-88DE-4105-86E0-2B6231D85761}">
      <dgm:prSet phldrT="[Texte]"/>
      <dgm:spPr/>
      <dgm:t>
        <a:bodyPr/>
        <a:lstStyle/>
        <a:p>
          <a:r>
            <a:rPr lang="fr-FR" dirty="0" smtClean="0"/>
            <a:t>Choix des paramètres</a:t>
          </a:r>
          <a:endParaRPr lang="fr-FR" dirty="0"/>
        </a:p>
      </dgm:t>
    </dgm:pt>
    <dgm:pt modelId="{2CF77C1D-17C6-44BA-9C42-98AF532251D7}" type="parTrans" cxnId="{6D1BE310-BAD5-4F1A-809D-93FEE5FD28F8}">
      <dgm:prSet/>
      <dgm:spPr/>
      <dgm:t>
        <a:bodyPr/>
        <a:lstStyle/>
        <a:p>
          <a:endParaRPr lang="fr-FR"/>
        </a:p>
      </dgm:t>
    </dgm:pt>
    <dgm:pt modelId="{9AB602CE-C6A6-4C62-8E2E-0B3CFA339521}" type="sibTrans" cxnId="{6D1BE310-BAD5-4F1A-809D-93FEE5FD28F8}">
      <dgm:prSet/>
      <dgm:spPr/>
      <dgm:t>
        <a:bodyPr/>
        <a:lstStyle/>
        <a:p>
          <a:endParaRPr lang="fr-FR"/>
        </a:p>
      </dgm:t>
    </dgm:pt>
    <dgm:pt modelId="{B9ABD3CC-3125-4FAE-9E0A-EE516B8C2ECE}">
      <dgm:prSet phldrT="[Texte]"/>
      <dgm:spPr/>
      <dgm:t>
        <a:bodyPr/>
        <a:lstStyle/>
        <a:p>
          <a:r>
            <a:rPr lang="fr-FR" dirty="0" smtClean="0"/>
            <a:t>Substitution énumérée</a:t>
          </a:r>
          <a:endParaRPr lang="fr-FR" dirty="0"/>
        </a:p>
      </dgm:t>
    </dgm:pt>
    <dgm:pt modelId="{9F707B30-1806-4513-B7FB-57D65758750C}" type="parTrans" cxnId="{855CAD22-F79F-4027-A317-71A143C4B714}">
      <dgm:prSet/>
      <dgm:spPr/>
      <dgm:t>
        <a:bodyPr/>
        <a:lstStyle/>
        <a:p>
          <a:endParaRPr lang="fr-FR"/>
        </a:p>
      </dgm:t>
    </dgm:pt>
    <dgm:pt modelId="{290729C9-8F11-43C0-928E-E75D99643CFB}" type="sibTrans" cxnId="{855CAD22-F79F-4027-A317-71A143C4B714}">
      <dgm:prSet/>
      <dgm:spPr/>
      <dgm:t>
        <a:bodyPr/>
        <a:lstStyle/>
        <a:p>
          <a:endParaRPr lang="fr-FR"/>
        </a:p>
      </dgm:t>
    </dgm:pt>
    <dgm:pt modelId="{AABD8BA1-D75D-4A75-BB8C-21E7BC8F218B}">
      <dgm:prSet phldrT="[Texte]"/>
      <dgm:spPr/>
      <dgm:t>
        <a:bodyPr/>
        <a:lstStyle/>
        <a:p>
          <a:r>
            <a:rPr lang="fr-FR" dirty="0" smtClean="0"/>
            <a:t>Substitution prédicative</a:t>
          </a:r>
          <a:endParaRPr lang="fr-FR" dirty="0"/>
        </a:p>
      </dgm:t>
    </dgm:pt>
    <dgm:pt modelId="{AFFCAEC9-98DD-4AF2-88B4-A27B611F0347}" type="parTrans" cxnId="{D7B20021-4A37-4543-9438-CECFD51ED8BA}">
      <dgm:prSet/>
      <dgm:spPr/>
      <dgm:t>
        <a:bodyPr/>
        <a:lstStyle/>
        <a:p>
          <a:endParaRPr lang="fr-FR"/>
        </a:p>
      </dgm:t>
    </dgm:pt>
    <dgm:pt modelId="{A3F0C2E6-3340-45BB-8FA4-EB8C5CC1ED39}" type="sibTrans" cxnId="{D7B20021-4A37-4543-9438-CECFD51ED8BA}">
      <dgm:prSet/>
      <dgm:spPr/>
      <dgm:t>
        <a:bodyPr/>
        <a:lstStyle/>
        <a:p>
          <a:endParaRPr lang="fr-FR"/>
        </a:p>
      </dgm:t>
    </dgm:pt>
    <dgm:pt modelId="{5C700996-041F-4082-A0AB-E8D240216562}" type="pres">
      <dgm:prSet presAssocID="{F068B0A2-9CBB-4167-8C54-9347930444B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57866BAB-BB89-468F-BAE9-AA9B563978DD}" type="pres">
      <dgm:prSet presAssocID="{84542D8C-9B7F-4DD0-B25E-15E15FDFDCF8}" presName="hierRoot1" presStyleCnt="0"/>
      <dgm:spPr/>
    </dgm:pt>
    <dgm:pt modelId="{1A41A708-9B1A-4B4E-B3D9-C2CC803C7166}" type="pres">
      <dgm:prSet presAssocID="{84542D8C-9B7F-4DD0-B25E-15E15FDFDCF8}" presName="composite" presStyleCnt="0"/>
      <dgm:spPr/>
    </dgm:pt>
    <dgm:pt modelId="{DB5A8B25-92CB-4554-8768-9579B1673CEF}" type="pres">
      <dgm:prSet presAssocID="{84542D8C-9B7F-4DD0-B25E-15E15FDFDCF8}" presName="background" presStyleLbl="node0" presStyleIdx="0" presStyleCnt="1"/>
      <dgm:spPr/>
    </dgm:pt>
    <dgm:pt modelId="{BFD097F7-24B2-453C-B8B8-6B7013F2407D}" type="pres">
      <dgm:prSet presAssocID="{84542D8C-9B7F-4DD0-B25E-15E15FDFDCF8}" presName="text" presStyleLbl="fgAcc0" presStyleIdx="0" presStyleCnt="1" custScaleX="41373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34E54A9-9043-46B2-AEC6-1E2950D87A23}" type="pres">
      <dgm:prSet presAssocID="{84542D8C-9B7F-4DD0-B25E-15E15FDFDCF8}" presName="hierChild2" presStyleCnt="0"/>
      <dgm:spPr/>
    </dgm:pt>
    <dgm:pt modelId="{02D42D61-6824-4933-A9FE-1FB0A795AD3C}" type="pres">
      <dgm:prSet presAssocID="{0083CAA2-450A-416D-B331-883406B2F770}" presName="Name10" presStyleLbl="parChTrans1D2" presStyleIdx="0" presStyleCnt="4"/>
      <dgm:spPr/>
      <dgm:t>
        <a:bodyPr/>
        <a:lstStyle/>
        <a:p>
          <a:endParaRPr lang="fr-FR"/>
        </a:p>
      </dgm:t>
    </dgm:pt>
    <dgm:pt modelId="{5B7329E5-DC97-4AD3-8267-C68FF92A27A2}" type="pres">
      <dgm:prSet presAssocID="{4E644AC2-1CB6-4147-A2A5-5719DB2FDA5C}" presName="hierRoot2" presStyleCnt="0"/>
      <dgm:spPr/>
    </dgm:pt>
    <dgm:pt modelId="{F8E37E94-A805-423C-9578-2BA02D3ABE1D}" type="pres">
      <dgm:prSet presAssocID="{4E644AC2-1CB6-4147-A2A5-5719DB2FDA5C}" presName="composite2" presStyleCnt="0"/>
      <dgm:spPr/>
    </dgm:pt>
    <dgm:pt modelId="{7CABF414-3CED-499F-9FE2-AF30CE5A9CD9}" type="pres">
      <dgm:prSet presAssocID="{4E644AC2-1CB6-4147-A2A5-5719DB2FDA5C}" presName="background2" presStyleLbl="node2" presStyleIdx="0" presStyleCnt="4"/>
      <dgm:spPr/>
    </dgm:pt>
    <dgm:pt modelId="{94954142-5BD0-44E5-A223-4AAED33A788D}" type="pres">
      <dgm:prSet presAssocID="{4E644AC2-1CB6-4147-A2A5-5719DB2FDA5C}" presName="text2" presStyleLbl="fgAcc2" presStyleIdx="0" presStyleCnt="4" custScaleX="108926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46D1FD6-3BD0-4977-84C7-B3F364167118}" type="pres">
      <dgm:prSet presAssocID="{4E644AC2-1CB6-4147-A2A5-5719DB2FDA5C}" presName="hierChild3" presStyleCnt="0"/>
      <dgm:spPr/>
    </dgm:pt>
    <dgm:pt modelId="{07443246-5105-4386-BAD9-66EF14B814F8}" type="pres">
      <dgm:prSet presAssocID="{2CF77C1D-17C6-44BA-9C42-98AF532251D7}" presName="Name10" presStyleLbl="parChTrans1D2" presStyleIdx="1" presStyleCnt="4"/>
      <dgm:spPr/>
      <dgm:t>
        <a:bodyPr/>
        <a:lstStyle/>
        <a:p>
          <a:endParaRPr lang="fr-FR"/>
        </a:p>
      </dgm:t>
    </dgm:pt>
    <dgm:pt modelId="{04AE75E3-E62D-419F-A31E-69D0EAF1437F}" type="pres">
      <dgm:prSet presAssocID="{13CFF60B-88DE-4105-86E0-2B6231D85761}" presName="hierRoot2" presStyleCnt="0"/>
      <dgm:spPr/>
    </dgm:pt>
    <dgm:pt modelId="{AE88CC78-CC90-468F-8987-89C378CF3F8E}" type="pres">
      <dgm:prSet presAssocID="{13CFF60B-88DE-4105-86E0-2B6231D85761}" presName="composite2" presStyleCnt="0"/>
      <dgm:spPr/>
    </dgm:pt>
    <dgm:pt modelId="{BBB72ABC-67F3-4082-93DC-983E0F21A119}" type="pres">
      <dgm:prSet presAssocID="{13CFF60B-88DE-4105-86E0-2B6231D85761}" presName="background2" presStyleLbl="node2" presStyleIdx="1" presStyleCnt="4"/>
      <dgm:spPr/>
    </dgm:pt>
    <dgm:pt modelId="{BEA9FC6B-CDB2-485D-81D7-EAC3531649EC}" type="pres">
      <dgm:prSet presAssocID="{13CFF60B-88DE-4105-86E0-2B6231D85761}" presName="text2" presStyleLbl="fgAcc2" presStyleIdx="1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64D13061-8460-42D6-9383-607617115A57}" type="pres">
      <dgm:prSet presAssocID="{13CFF60B-88DE-4105-86E0-2B6231D85761}" presName="hierChild3" presStyleCnt="0"/>
      <dgm:spPr/>
    </dgm:pt>
    <dgm:pt modelId="{3E3AD7A9-3ACE-4300-BD5F-2FECCF7B2BCB}" type="pres">
      <dgm:prSet presAssocID="{9F707B30-1806-4513-B7FB-57D65758750C}" presName="Name10" presStyleLbl="parChTrans1D2" presStyleIdx="2" presStyleCnt="4"/>
      <dgm:spPr/>
      <dgm:t>
        <a:bodyPr/>
        <a:lstStyle/>
        <a:p>
          <a:endParaRPr lang="fr-FR"/>
        </a:p>
      </dgm:t>
    </dgm:pt>
    <dgm:pt modelId="{6123582B-B24F-46D2-B37B-522270A10575}" type="pres">
      <dgm:prSet presAssocID="{B9ABD3CC-3125-4FAE-9E0A-EE516B8C2ECE}" presName="hierRoot2" presStyleCnt="0"/>
      <dgm:spPr/>
    </dgm:pt>
    <dgm:pt modelId="{D6394F9C-A261-42E6-9CD4-91ABFBFA53C6}" type="pres">
      <dgm:prSet presAssocID="{B9ABD3CC-3125-4FAE-9E0A-EE516B8C2ECE}" presName="composite2" presStyleCnt="0"/>
      <dgm:spPr/>
    </dgm:pt>
    <dgm:pt modelId="{A307446C-BD3F-427A-B3ED-291FADCD99E2}" type="pres">
      <dgm:prSet presAssocID="{B9ABD3CC-3125-4FAE-9E0A-EE516B8C2ECE}" presName="background2" presStyleLbl="node2" presStyleIdx="2" presStyleCnt="4"/>
      <dgm:spPr/>
    </dgm:pt>
    <dgm:pt modelId="{9C5385E7-E06D-482B-A2A7-40E4F2660398}" type="pres">
      <dgm:prSet presAssocID="{B9ABD3CC-3125-4FAE-9E0A-EE516B8C2ECE}" presName="text2" presStyleLbl="fgAcc2" presStyleIdx="2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F62877EB-3BFB-4D61-AE52-26E3C135A618}" type="pres">
      <dgm:prSet presAssocID="{B9ABD3CC-3125-4FAE-9E0A-EE516B8C2ECE}" presName="hierChild3" presStyleCnt="0"/>
      <dgm:spPr/>
    </dgm:pt>
    <dgm:pt modelId="{684C22F9-EB90-4D08-8CB9-568A0E3FD84E}" type="pres">
      <dgm:prSet presAssocID="{AFFCAEC9-98DD-4AF2-88B4-A27B611F0347}" presName="Name10" presStyleLbl="parChTrans1D2" presStyleIdx="3" presStyleCnt="4"/>
      <dgm:spPr/>
      <dgm:t>
        <a:bodyPr/>
        <a:lstStyle/>
        <a:p>
          <a:endParaRPr lang="fr-FR"/>
        </a:p>
      </dgm:t>
    </dgm:pt>
    <dgm:pt modelId="{A57E62B7-483C-4DB2-A06F-3AEC7FA0A768}" type="pres">
      <dgm:prSet presAssocID="{AABD8BA1-D75D-4A75-BB8C-21E7BC8F218B}" presName="hierRoot2" presStyleCnt="0"/>
      <dgm:spPr/>
    </dgm:pt>
    <dgm:pt modelId="{24BE21BB-D5D2-4C52-AA70-68AED6841237}" type="pres">
      <dgm:prSet presAssocID="{AABD8BA1-D75D-4A75-BB8C-21E7BC8F218B}" presName="composite2" presStyleCnt="0"/>
      <dgm:spPr/>
    </dgm:pt>
    <dgm:pt modelId="{2B240697-5699-4207-937B-D5F0CAA92669}" type="pres">
      <dgm:prSet presAssocID="{AABD8BA1-D75D-4A75-BB8C-21E7BC8F218B}" presName="background2" presStyleLbl="node2" presStyleIdx="3" presStyleCnt="4"/>
      <dgm:spPr/>
    </dgm:pt>
    <dgm:pt modelId="{4BF8EF73-B82D-479A-9D12-7B387A256DA5}" type="pres">
      <dgm:prSet presAssocID="{AABD8BA1-D75D-4A75-BB8C-21E7BC8F218B}" presName="text2" presStyleLbl="fgAcc2" presStyleIdx="3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7ED1E6B-7A36-4A80-B737-21E538881CCF}" type="pres">
      <dgm:prSet presAssocID="{AABD8BA1-D75D-4A75-BB8C-21E7BC8F218B}" presName="hierChild3" presStyleCnt="0"/>
      <dgm:spPr/>
    </dgm:pt>
  </dgm:ptLst>
  <dgm:cxnLst>
    <dgm:cxn modelId="{0434F82F-3D58-4048-AE75-D0CB3E649400}" type="presOf" srcId="{AABD8BA1-D75D-4A75-BB8C-21E7BC8F218B}" destId="{4BF8EF73-B82D-479A-9D12-7B387A256DA5}" srcOrd="0" destOrd="0" presId="urn:microsoft.com/office/officeart/2005/8/layout/hierarchy1"/>
    <dgm:cxn modelId="{C4FAD3DA-3338-4382-8A8B-13A07B17B369}" type="presOf" srcId="{2CF77C1D-17C6-44BA-9C42-98AF532251D7}" destId="{07443246-5105-4386-BAD9-66EF14B814F8}" srcOrd="0" destOrd="0" presId="urn:microsoft.com/office/officeart/2005/8/layout/hierarchy1"/>
    <dgm:cxn modelId="{6D1BE310-BAD5-4F1A-809D-93FEE5FD28F8}" srcId="{84542D8C-9B7F-4DD0-B25E-15E15FDFDCF8}" destId="{13CFF60B-88DE-4105-86E0-2B6231D85761}" srcOrd="1" destOrd="0" parTransId="{2CF77C1D-17C6-44BA-9C42-98AF532251D7}" sibTransId="{9AB602CE-C6A6-4C62-8E2E-0B3CFA339521}"/>
    <dgm:cxn modelId="{49966E7C-D90D-4EC7-B549-4DD89236C256}" srcId="{F068B0A2-9CBB-4167-8C54-9347930444BE}" destId="{84542D8C-9B7F-4DD0-B25E-15E15FDFDCF8}" srcOrd="0" destOrd="0" parTransId="{C764DD68-9402-4FE5-8406-499078F0A668}" sibTransId="{3CE3F1E9-6DFA-4089-A58E-0887E7037CA7}"/>
    <dgm:cxn modelId="{46204434-35F9-4B49-8518-699D6E81E766}" type="presOf" srcId="{4E644AC2-1CB6-4147-A2A5-5719DB2FDA5C}" destId="{94954142-5BD0-44E5-A223-4AAED33A788D}" srcOrd="0" destOrd="0" presId="urn:microsoft.com/office/officeart/2005/8/layout/hierarchy1"/>
    <dgm:cxn modelId="{855CAD22-F79F-4027-A317-71A143C4B714}" srcId="{84542D8C-9B7F-4DD0-B25E-15E15FDFDCF8}" destId="{B9ABD3CC-3125-4FAE-9E0A-EE516B8C2ECE}" srcOrd="2" destOrd="0" parTransId="{9F707B30-1806-4513-B7FB-57D65758750C}" sibTransId="{290729C9-8F11-43C0-928E-E75D99643CFB}"/>
    <dgm:cxn modelId="{6477A241-E21B-4EED-B65E-3FD6C177721A}" type="presOf" srcId="{AFFCAEC9-98DD-4AF2-88B4-A27B611F0347}" destId="{684C22F9-EB90-4D08-8CB9-568A0E3FD84E}" srcOrd="0" destOrd="0" presId="urn:microsoft.com/office/officeart/2005/8/layout/hierarchy1"/>
    <dgm:cxn modelId="{D3145FD0-14B4-4B97-A6E4-9232831C5266}" type="presOf" srcId="{84542D8C-9B7F-4DD0-B25E-15E15FDFDCF8}" destId="{BFD097F7-24B2-453C-B8B8-6B7013F2407D}" srcOrd="0" destOrd="0" presId="urn:microsoft.com/office/officeart/2005/8/layout/hierarchy1"/>
    <dgm:cxn modelId="{90894AD9-41D6-480C-8F12-F02ACEBB237F}" type="presOf" srcId="{F068B0A2-9CBB-4167-8C54-9347930444BE}" destId="{5C700996-041F-4082-A0AB-E8D240216562}" srcOrd="0" destOrd="0" presId="urn:microsoft.com/office/officeart/2005/8/layout/hierarchy1"/>
    <dgm:cxn modelId="{53BD5995-CD22-45CA-88AB-4679F96DF052}" type="presOf" srcId="{0083CAA2-450A-416D-B331-883406B2F770}" destId="{02D42D61-6824-4933-A9FE-1FB0A795AD3C}" srcOrd="0" destOrd="0" presId="urn:microsoft.com/office/officeart/2005/8/layout/hierarchy1"/>
    <dgm:cxn modelId="{B2273C3D-C9D3-49F8-B7CC-280E216D7D78}" type="presOf" srcId="{13CFF60B-88DE-4105-86E0-2B6231D85761}" destId="{BEA9FC6B-CDB2-485D-81D7-EAC3531649EC}" srcOrd="0" destOrd="0" presId="urn:microsoft.com/office/officeart/2005/8/layout/hierarchy1"/>
    <dgm:cxn modelId="{067395BB-087A-4D21-8F91-A90A6069E8C6}" srcId="{84542D8C-9B7F-4DD0-B25E-15E15FDFDCF8}" destId="{4E644AC2-1CB6-4147-A2A5-5719DB2FDA5C}" srcOrd="0" destOrd="0" parTransId="{0083CAA2-450A-416D-B331-883406B2F770}" sibTransId="{1705C91B-C82F-4B25-9248-76C010E06931}"/>
    <dgm:cxn modelId="{3CC3E8D5-936E-41DA-8B4F-4EE8AB8B0595}" type="presOf" srcId="{B9ABD3CC-3125-4FAE-9E0A-EE516B8C2ECE}" destId="{9C5385E7-E06D-482B-A2A7-40E4F2660398}" srcOrd="0" destOrd="0" presId="urn:microsoft.com/office/officeart/2005/8/layout/hierarchy1"/>
    <dgm:cxn modelId="{DE933786-BFC7-4E4B-8030-8E1CF122F48B}" type="presOf" srcId="{9F707B30-1806-4513-B7FB-57D65758750C}" destId="{3E3AD7A9-3ACE-4300-BD5F-2FECCF7B2BCB}" srcOrd="0" destOrd="0" presId="urn:microsoft.com/office/officeart/2005/8/layout/hierarchy1"/>
    <dgm:cxn modelId="{D7B20021-4A37-4543-9438-CECFD51ED8BA}" srcId="{84542D8C-9B7F-4DD0-B25E-15E15FDFDCF8}" destId="{AABD8BA1-D75D-4A75-BB8C-21E7BC8F218B}" srcOrd="3" destOrd="0" parTransId="{AFFCAEC9-98DD-4AF2-88B4-A27B611F0347}" sibTransId="{A3F0C2E6-3340-45BB-8FA4-EB8C5CC1ED39}"/>
    <dgm:cxn modelId="{4A790597-EA5E-4F5E-83BB-2D750233E6A0}" type="presParOf" srcId="{5C700996-041F-4082-A0AB-E8D240216562}" destId="{57866BAB-BB89-468F-BAE9-AA9B563978DD}" srcOrd="0" destOrd="0" presId="urn:microsoft.com/office/officeart/2005/8/layout/hierarchy1"/>
    <dgm:cxn modelId="{CDFF22A3-23D9-4D34-8EA8-BA3CC72656FF}" type="presParOf" srcId="{57866BAB-BB89-468F-BAE9-AA9B563978DD}" destId="{1A41A708-9B1A-4B4E-B3D9-C2CC803C7166}" srcOrd="0" destOrd="0" presId="urn:microsoft.com/office/officeart/2005/8/layout/hierarchy1"/>
    <dgm:cxn modelId="{47F01134-C844-42D4-83D2-C268643B3CEE}" type="presParOf" srcId="{1A41A708-9B1A-4B4E-B3D9-C2CC803C7166}" destId="{DB5A8B25-92CB-4554-8768-9579B1673CEF}" srcOrd="0" destOrd="0" presId="urn:microsoft.com/office/officeart/2005/8/layout/hierarchy1"/>
    <dgm:cxn modelId="{C9C46E15-0307-4F99-AC2C-821A674433E5}" type="presParOf" srcId="{1A41A708-9B1A-4B4E-B3D9-C2CC803C7166}" destId="{BFD097F7-24B2-453C-B8B8-6B7013F2407D}" srcOrd="1" destOrd="0" presId="urn:microsoft.com/office/officeart/2005/8/layout/hierarchy1"/>
    <dgm:cxn modelId="{DBB1B581-2098-4D9C-A18B-DE01BC939C45}" type="presParOf" srcId="{57866BAB-BB89-468F-BAE9-AA9B563978DD}" destId="{834E54A9-9043-46B2-AEC6-1E2950D87A23}" srcOrd="1" destOrd="0" presId="urn:microsoft.com/office/officeart/2005/8/layout/hierarchy1"/>
    <dgm:cxn modelId="{4C3C88B7-05C3-42F9-8606-0713B27C0A58}" type="presParOf" srcId="{834E54A9-9043-46B2-AEC6-1E2950D87A23}" destId="{02D42D61-6824-4933-A9FE-1FB0A795AD3C}" srcOrd="0" destOrd="0" presId="urn:microsoft.com/office/officeart/2005/8/layout/hierarchy1"/>
    <dgm:cxn modelId="{5468B68D-5B0A-4451-9C0B-29A63E84262A}" type="presParOf" srcId="{834E54A9-9043-46B2-AEC6-1E2950D87A23}" destId="{5B7329E5-DC97-4AD3-8267-C68FF92A27A2}" srcOrd="1" destOrd="0" presId="urn:microsoft.com/office/officeart/2005/8/layout/hierarchy1"/>
    <dgm:cxn modelId="{F6D578B1-5D41-42A3-B441-05693A1CB3DF}" type="presParOf" srcId="{5B7329E5-DC97-4AD3-8267-C68FF92A27A2}" destId="{F8E37E94-A805-423C-9578-2BA02D3ABE1D}" srcOrd="0" destOrd="0" presId="urn:microsoft.com/office/officeart/2005/8/layout/hierarchy1"/>
    <dgm:cxn modelId="{A6DEC3F8-431C-426D-B869-CCB3FBF03A78}" type="presParOf" srcId="{F8E37E94-A805-423C-9578-2BA02D3ABE1D}" destId="{7CABF414-3CED-499F-9FE2-AF30CE5A9CD9}" srcOrd="0" destOrd="0" presId="urn:microsoft.com/office/officeart/2005/8/layout/hierarchy1"/>
    <dgm:cxn modelId="{5206194A-CBE2-488D-97BC-D00EB78A8CE6}" type="presParOf" srcId="{F8E37E94-A805-423C-9578-2BA02D3ABE1D}" destId="{94954142-5BD0-44E5-A223-4AAED33A788D}" srcOrd="1" destOrd="0" presId="urn:microsoft.com/office/officeart/2005/8/layout/hierarchy1"/>
    <dgm:cxn modelId="{A11B19FD-8A88-4E7B-AB28-10CFEF56202C}" type="presParOf" srcId="{5B7329E5-DC97-4AD3-8267-C68FF92A27A2}" destId="{E46D1FD6-3BD0-4977-84C7-B3F364167118}" srcOrd="1" destOrd="0" presId="urn:microsoft.com/office/officeart/2005/8/layout/hierarchy1"/>
    <dgm:cxn modelId="{6CFD1FAD-5904-4B4C-ADA1-097B43FB9B54}" type="presParOf" srcId="{834E54A9-9043-46B2-AEC6-1E2950D87A23}" destId="{07443246-5105-4386-BAD9-66EF14B814F8}" srcOrd="2" destOrd="0" presId="urn:microsoft.com/office/officeart/2005/8/layout/hierarchy1"/>
    <dgm:cxn modelId="{18E31723-E34A-4E9B-9763-AB1C4EBDB1FE}" type="presParOf" srcId="{834E54A9-9043-46B2-AEC6-1E2950D87A23}" destId="{04AE75E3-E62D-419F-A31E-69D0EAF1437F}" srcOrd="3" destOrd="0" presId="urn:microsoft.com/office/officeart/2005/8/layout/hierarchy1"/>
    <dgm:cxn modelId="{FB2C3075-BE5B-4347-AAFB-E8B814C1DBAA}" type="presParOf" srcId="{04AE75E3-E62D-419F-A31E-69D0EAF1437F}" destId="{AE88CC78-CC90-468F-8987-89C378CF3F8E}" srcOrd="0" destOrd="0" presId="urn:microsoft.com/office/officeart/2005/8/layout/hierarchy1"/>
    <dgm:cxn modelId="{12BA927D-67DF-41AE-B602-4E1FEC20A647}" type="presParOf" srcId="{AE88CC78-CC90-468F-8987-89C378CF3F8E}" destId="{BBB72ABC-67F3-4082-93DC-983E0F21A119}" srcOrd="0" destOrd="0" presId="urn:microsoft.com/office/officeart/2005/8/layout/hierarchy1"/>
    <dgm:cxn modelId="{4AF79B49-E274-4D4D-9446-CCC10F108765}" type="presParOf" srcId="{AE88CC78-CC90-468F-8987-89C378CF3F8E}" destId="{BEA9FC6B-CDB2-485D-81D7-EAC3531649EC}" srcOrd="1" destOrd="0" presId="urn:microsoft.com/office/officeart/2005/8/layout/hierarchy1"/>
    <dgm:cxn modelId="{8F9CF62A-55B5-48AB-AA9F-0BCB85D96D25}" type="presParOf" srcId="{04AE75E3-E62D-419F-A31E-69D0EAF1437F}" destId="{64D13061-8460-42D6-9383-607617115A57}" srcOrd="1" destOrd="0" presId="urn:microsoft.com/office/officeart/2005/8/layout/hierarchy1"/>
    <dgm:cxn modelId="{FC7B5329-9DE3-4005-B398-C9C211068826}" type="presParOf" srcId="{834E54A9-9043-46B2-AEC6-1E2950D87A23}" destId="{3E3AD7A9-3ACE-4300-BD5F-2FECCF7B2BCB}" srcOrd="4" destOrd="0" presId="urn:microsoft.com/office/officeart/2005/8/layout/hierarchy1"/>
    <dgm:cxn modelId="{E544A5FF-221A-49ED-8A08-139858AB84FB}" type="presParOf" srcId="{834E54A9-9043-46B2-AEC6-1E2950D87A23}" destId="{6123582B-B24F-46D2-B37B-522270A10575}" srcOrd="5" destOrd="0" presId="urn:microsoft.com/office/officeart/2005/8/layout/hierarchy1"/>
    <dgm:cxn modelId="{4055AE68-1E52-4EEE-9663-C0CF2504B601}" type="presParOf" srcId="{6123582B-B24F-46D2-B37B-522270A10575}" destId="{D6394F9C-A261-42E6-9CD4-91ABFBFA53C6}" srcOrd="0" destOrd="0" presId="urn:microsoft.com/office/officeart/2005/8/layout/hierarchy1"/>
    <dgm:cxn modelId="{D16020B5-4D46-4E45-8F30-62E2D12FE9E3}" type="presParOf" srcId="{D6394F9C-A261-42E6-9CD4-91ABFBFA53C6}" destId="{A307446C-BD3F-427A-B3ED-291FADCD99E2}" srcOrd="0" destOrd="0" presId="urn:microsoft.com/office/officeart/2005/8/layout/hierarchy1"/>
    <dgm:cxn modelId="{E1530730-C776-48EF-9BAD-C7ED6F0F6BE1}" type="presParOf" srcId="{D6394F9C-A261-42E6-9CD4-91ABFBFA53C6}" destId="{9C5385E7-E06D-482B-A2A7-40E4F2660398}" srcOrd="1" destOrd="0" presId="urn:microsoft.com/office/officeart/2005/8/layout/hierarchy1"/>
    <dgm:cxn modelId="{FB4C6CD9-B73A-4EE6-80C8-6DADBD42ED2A}" type="presParOf" srcId="{6123582B-B24F-46D2-B37B-522270A10575}" destId="{F62877EB-3BFB-4D61-AE52-26E3C135A618}" srcOrd="1" destOrd="0" presId="urn:microsoft.com/office/officeart/2005/8/layout/hierarchy1"/>
    <dgm:cxn modelId="{F73CCC62-5340-4AC0-BDA6-5EDE8AB00A80}" type="presParOf" srcId="{834E54A9-9043-46B2-AEC6-1E2950D87A23}" destId="{684C22F9-EB90-4D08-8CB9-568A0E3FD84E}" srcOrd="6" destOrd="0" presId="urn:microsoft.com/office/officeart/2005/8/layout/hierarchy1"/>
    <dgm:cxn modelId="{9C07940D-7341-4903-B2A9-55C99DE86D1D}" type="presParOf" srcId="{834E54A9-9043-46B2-AEC6-1E2950D87A23}" destId="{A57E62B7-483C-4DB2-A06F-3AEC7FA0A768}" srcOrd="7" destOrd="0" presId="urn:microsoft.com/office/officeart/2005/8/layout/hierarchy1"/>
    <dgm:cxn modelId="{33D4578E-10CA-429F-AA68-00612AA6F2C8}" type="presParOf" srcId="{A57E62B7-483C-4DB2-A06F-3AEC7FA0A768}" destId="{24BE21BB-D5D2-4C52-AA70-68AED6841237}" srcOrd="0" destOrd="0" presId="urn:microsoft.com/office/officeart/2005/8/layout/hierarchy1"/>
    <dgm:cxn modelId="{F83E8F46-E81E-471A-B01C-FA1F95B89157}" type="presParOf" srcId="{24BE21BB-D5D2-4C52-AA70-68AED6841237}" destId="{2B240697-5699-4207-937B-D5F0CAA92669}" srcOrd="0" destOrd="0" presId="urn:microsoft.com/office/officeart/2005/8/layout/hierarchy1"/>
    <dgm:cxn modelId="{86DC1D5F-B9F3-4598-9CEA-CD255B032D87}" type="presParOf" srcId="{24BE21BB-D5D2-4C52-AA70-68AED6841237}" destId="{4BF8EF73-B82D-479A-9D12-7B387A256DA5}" srcOrd="1" destOrd="0" presId="urn:microsoft.com/office/officeart/2005/8/layout/hierarchy1"/>
    <dgm:cxn modelId="{CCA866BB-7C00-4843-B851-AF2964F21BDA}" type="presParOf" srcId="{A57E62B7-483C-4DB2-A06F-3AEC7FA0A768}" destId="{87ED1E6B-7A36-4A80-B737-21E538881CCF}" srcOrd="1" destOrd="0" presId="urn:microsoft.com/office/officeart/2005/8/layout/hierarchy1"/>
  </dgm:cxnLst>
  <dgm:bg/>
  <dgm:whole/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068B0A2-9CBB-4167-8C54-9347930444B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4542D8C-9B7F-4DD0-B25E-15E15FDFDCF8}">
      <dgm:prSet phldrT="[Texte]"/>
      <dgm:spPr/>
      <dgm:t>
        <a:bodyPr/>
        <a:lstStyle/>
        <a:p>
          <a:r>
            <a:rPr lang="fr-FR" dirty="0" smtClean="0"/>
            <a:t>Sources de non-déterminisme</a:t>
          </a:r>
          <a:endParaRPr lang="fr-FR" dirty="0"/>
        </a:p>
      </dgm:t>
    </dgm:pt>
    <dgm:pt modelId="{C764DD68-9402-4FE5-8406-499078F0A668}" type="parTrans" cxnId="{49966E7C-D90D-4EC7-B549-4DD89236C256}">
      <dgm:prSet/>
      <dgm:spPr/>
      <dgm:t>
        <a:bodyPr/>
        <a:lstStyle/>
        <a:p>
          <a:endParaRPr lang="fr-FR"/>
        </a:p>
      </dgm:t>
    </dgm:pt>
    <dgm:pt modelId="{3CE3F1E9-6DFA-4089-A58E-0887E7037CA7}" type="sibTrans" cxnId="{49966E7C-D90D-4EC7-B549-4DD89236C256}">
      <dgm:prSet/>
      <dgm:spPr/>
      <dgm:t>
        <a:bodyPr/>
        <a:lstStyle/>
        <a:p>
          <a:endParaRPr lang="fr-FR"/>
        </a:p>
      </dgm:t>
    </dgm:pt>
    <dgm:pt modelId="{4E644AC2-1CB6-4147-A2A5-5719DB2FDA5C}">
      <dgm:prSet phldrT="[Texte]"/>
      <dgm:spPr/>
      <dgm:t>
        <a:bodyPr/>
        <a:lstStyle/>
        <a:p>
          <a:r>
            <a:rPr lang="fr-FR" dirty="0" smtClean="0"/>
            <a:t>Choix de l’événement</a:t>
          </a:r>
          <a:endParaRPr lang="fr-FR" dirty="0"/>
        </a:p>
      </dgm:t>
    </dgm:pt>
    <dgm:pt modelId="{0083CAA2-450A-416D-B331-883406B2F770}" type="parTrans" cxnId="{067395BB-087A-4D21-8F91-A90A6069E8C6}">
      <dgm:prSet/>
      <dgm:spPr/>
      <dgm:t>
        <a:bodyPr/>
        <a:lstStyle/>
        <a:p>
          <a:endParaRPr lang="fr-FR"/>
        </a:p>
      </dgm:t>
    </dgm:pt>
    <dgm:pt modelId="{1705C91B-C82F-4B25-9248-76C010E06931}" type="sibTrans" cxnId="{067395BB-087A-4D21-8F91-A90A6069E8C6}">
      <dgm:prSet/>
      <dgm:spPr/>
      <dgm:t>
        <a:bodyPr/>
        <a:lstStyle/>
        <a:p>
          <a:endParaRPr lang="fr-FR"/>
        </a:p>
      </dgm:t>
    </dgm:pt>
    <dgm:pt modelId="{13CFF60B-88DE-4105-86E0-2B6231D85761}">
      <dgm:prSet phldrT="[Texte]"/>
      <dgm:spPr/>
      <dgm:t>
        <a:bodyPr/>
        <a:lstStyle/>
        <a:p>
          <a:r>
            <a:rPr lang="fr-FR" dirty="0" smtClean="0"/>
            <a:t>Choix des paramètres</a:t>
          </a:r>
          <a:endParaRPr lang="fr-FR" dirty="0"/>
        </a:p>
      </dgm:t>
    </dgm:pt>
    <dgm:pt modelId="{2CF77C1D-17C6-44BA-9C42-98AF532251D7}" type="parTrans" cxnId="{6D1BE310-BAD5-4F1A-809D-93FEE5FD28F8}">
      <dgm:prSet/>
      <dgm:spPr/>
      <dgm:t>
        <a:bodyPr/>
        <a:lstStyle/>
        <a:p>
          <a:endParaRPr lang="fr-FR"/>
        </a:p>
      </dgm:t>
    </dgm:pt>
    <dgm:pt modelId="{9AB602CE-C6A6-4C62-8E2E-0B3CFA339521}" type="sibTrans" cxnId="{6D1BE310-BAD5-4F1A-809D-93FEE5FD28F8}">
      <dgm:prSet/>
      <dgm:spPr/>
      <dgm:t>
        <a:bodyPr/>
        <a:lstStyle/>
        <a:p>
          <a:endParaRPr lang="fr-FR"/>
        </a:p>
      </dgm:t>
    </dgm:pt>
    <dgm:pt modelId="{B9ABD3CC-3125-4FAE-9E0A-EE516B8C2ECE}">
      <dgm:prSet phldrT="[Texte]"/>
      <dgm:spPr/>
      <dgm:t>
        <a:bodyPr/>
        <a:lstStyle/>
        <a:p>
          <a:r>
            <a:rPr lang="fr-FR" dirty="0" smtClean="0"/>
            <a:t>Substitution énumérée</a:t>
          </a:r>
          <a:endParaRPr lang="fr-FR" dirty="0"/>
        </a:p>
      </dgm:t>
    </dgm:pt>
    <dgm:pt modelId="{9F707B30-1806-4513-B7FB-57D65758750C}" type="parTrans" cxnId="{855CAD22-F79F-4027-A317-71A143C4B714}">
      <dgm:prSet/>
      <dgm:spPr/>
      <dgm:t>
        <a:bodyPr/>
        <a:lstStyle/>
        <a:p>
          <a:endParaRPr lang="fr-FR"/>
        </a:p>
      </dgm:t>
    </dgm:pt>
    <dgm:pt modelId="{290729C9-8F11-43C0-928E-E75D99643CFB}" type="sibTrans" cxnId="{855CAD22-F79F-4027-A317-71A143C4B714}">
      <dgm:prSet/>
      <dgm:spPr/>
      <dgm:t>
        <a:bodyPr/>
        <a:lstStyle/>
        <a:p>
          <a:endParaRPr lang="fr-FR"/>
        </a:p>
      </dgm:t>
    </dgm:pt>
    <dgm:pt modelId="{AABD8BA1-D75D-4A75-BB8C-21E7BC8F218B}">
      <dgm:prSet phldrT="[Texte]"/>
      <dgm:spPr/>
      <dgm:t>
        <a:bodyPr/>
        <a:lstStyle/>
        <a:p>
          <a:r>
            <a:rPr lang="fr-FR" dirty="0" smtClean="0"/>
            <a:t>Substitution prédicative</a:t>
          </a:r>
          <a:endParaRPr lang="fr-FR" dirty="0"/>
        </a:p>
      </dgm:t>
    </dgm:pt>
    <dgm:pt modelId="{AFFCAEC9-98DD-4AF2-88B4-A27B611F0347}" type="parTrans" cxnId="{D7B20021-4A37-4543-9438-CECFD51ED8BA}">
      <dgm:prSet/>
      <dgm:spPr/>
      <dgm:t>
        <a:bodyPr/>
        <a:lstStyle/>
        <a:p>
          <a:endParaRPr lang="fr-FR"/>
        </a:p>
      </dgm:t>
    </dgm:pt>
    <dgm:pt modelId="{A3F0C2E6-3340-45BB-8FA4-EB8C5CC1ED39}" type="sibTrans" cxnId="{D7B20021-4A37-4543-9438-CECFD51ED8BA}">
      <dgm:prSet/>
      <dgm:spPr/>
      <dgm:t>
        <a:bodyPr/>
        <a:lstStyle/>
        <a:p>
          <a:endParaRPr lang="fr-FR"/>
        </a:p>
      </dgm:t>
    </dgm:pt>
    <dgm:pt modelId="{5C700996-041F-4082-A0AB-E8D240216562}" type="pres">
      <dgm:prSet presAssocID="{F068B0A2-9CBB-4167-8C54-9347930444B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57866BAB-BB89-468F-BAE9-AA9B563978DD}" type="pres">
      <dgm:prSet presAssocID="{84542D8C-9B7F-4DD0-B25E-15E15FDFDCF8}" presName="hierRoot1" presStyleCnt="0"/>
      <dgm:spPr/>
    </dgm:pt>
    <dgm:pt modelId="{1A41A708-9B1A-4B4E-B3D9-C2CC803C7166}" type="pres">
      <dgm:prSet presAssocID="{84542D8C-9B7F-4DD0-B25E-15E15FDFDCF8}" presName="composite" presStyleCnt="0"/>
      <dgm:spPr/>
    </dgm:pt>
    <dgm:pt modelId="{DB5A8B25-92CB-4554-8768-9579B1673CEF}" type="pres">
      <dgm:prSet presAssocID="{84542D8C-9B7F-4DD0-B25E-15E15FDFDCF8}" presName="background" presStyleLbl="node0" presStyleIdx="0" presStyleCnt="1"/>
      <dgm:spPr/>
    </dgm:pt>
    <dgm:pt modelId="{BFD097F7-24B2-453C-B8B8-6B7013F2407D}" type="pres">
      <dgm:prSet presAssocID="{84542D8C-9B7F-4DD0-B25E-15E15FDFDCF8}" presName="text" presStyleLbl="fgAcc0" presStyleIdx="0" presStyleCnt="1" custScaleX="413737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34E54A9-9043-46B2-AEC6-1E2950D87A23}" type="pres">
      <dgm:prSet presAssocID="{84542D8C-9B7F-4DD0-B25E-15E15FDFDCF8}" presName="hierChild2" presStyleCnt="0"/>
      <dgm:spPr/>
    </dgm:pt>
    <dgm:pt modelId="{02D42D61-6824-4933-A9FE-1FB0A795AD3C}" type="pres">
      <dgm:prSet presAssocID="{0083CAA2-450A-416D-B331-883406B2F770}" presName="Name10" presStyleLbl="parChTrans1D2" presStyleIdx="0" presStyleCnt="4"/>
      <dgm:spPr/>
      <dgm:t>
        <a:bodyPr/>
        <a:lstStyle/>
        <a:p>
          <a:endParaRPr lang="fr-FR"/>
        </a:p>
      </dgm:t>
    </dgm:pt>
    <dgm:pt modelId="{5B7329E5-DC97-4AD3-8267-C68FF92A27A2}" type="pres">
      <dgm:prSet presAssocID="{4E644AC2-1CB6-4147-A2A5-5719DB2FDA5C}" presName="hierRoot2" presStyleCnt="0"/>
      <dgm:spPr/>
    </dgm:pt>
    <dgm:pt modelId="{F8E37E94-A805-423C-9578-2BA02D3ABE1D}" type="pres">
      <dgm:prSet presAssocID="{4E644AC2-1CB6-4147-A2A5-5719DB2FDA5C}" presName="composite2" presStyleCnt="0"/>
      <dgm:spPr/>
    </dgm:pt>
    <dgm:pt modelId="{7CABF414-3CED-499F-9FE2-AF30CE5A9CD9}" type="pres">
      <dgm:prSet presAssocID="{4E644AC2-1CB6-4147-A2A5-5719DB2FDA5C}" presName="background2" presStyleLbl="node2" presStyleIdx="0" presStyleCnt="4"/>
      <dgm:spPr/>
    </dgm:pt>
    <dgm:pt modelId="{94954142-5BD0-44E5-A223-4AAED33A788D}" type="pres">
      <dgm:prSet presAssocID="{4E644AC2-1CB6-4147-A2A5-5719DB2FDA5C}" presName="text2" presStyleLbl="fgAcc2" presStyleIdx="0" presStyleCnt="4" custScaleX="157565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46D1FD6-3BD0-4977-84C7-B3F364167118}" type="pres">
      <dgm:prSet presAssocID="{4E644AC2-1CB6-4147-A2A5-5719DB2FDA5C}" presName="hierChild3" presStyleCnt="0"/>
      <dgm:spPr/>
    </dgm:pt>
    <dgm:pt modelId="{07443246-5105-4386-BAD9-66EF14B814F8}" type="pres">
      <dgm:prSet presAssocID="{2CF77C1D-17C6-44BA-9C42-98AF532251D7}" presName="Name10" presStyleLbl="parChTrans1D2" presStyleIdx="1" presStyleCnt="4"/>
      <dgm:spPr/>
      <dgm:t>
        <a:bodyPr/>
        <a:lstStyle/>
        <a:p>
          <a:endParaRPr lang="fr-FR"/>
        </a:p>
      </dgm:t>
    </dgm:pt>
    <dgm:pt modelId="{04AE75E3-E62D-419F-A31E-69D0EAF1437F}" type="pres">
      <dgm:prSet presAssocID="{13CFF60B-88DE-4105-86E0-2B6231D85761}" presName="hierRoot2" presStyleCnt="0"/>
      <dgm:spPr/>
    </dgm:pt>
    <dgm:pt modelId="{AE88CC78-CC90-468F-8987-89C378CF3F8E}" type="pres">
      <dgm:prSet presAssocID="{13CFF60B-88DE-4105-86E0-2B6231D85761}" presName="composite2" presStyleCnt="0"/>
      <dgm:spPr/>
    </dgm:pt>
    <dgm:pt modelId="{BBB72ABC-67F3-4082-93DC-983E0F21A119}" type="pres">
      <dgm:prSet presAssocID="{13CFF60B-88DE-4105-86E0-2B6231D85761}" presName="background2" presStyleLbl="node2" presStyleIdx="1" presStyleCnt="4"/>
      <dgm:spPr/>
    </dgm:pt>
    <dgm:pt modelId="{BEA9FC6B-CDB2-485D-81D7-EAC3531649EC}" type="pres">
      <dgm:prSet presAssocID="{13CFF60B-88DE-4105-86E0-2B6231D85761}" presName="text2" presStyleLbl="fgAcc2" presStyleIdx="1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64D13061-8460-42D6-9383-607617115A57}" type="pres">
      <dgm:prSet presAssocID="{13CFF60B-88DE-4105-86E0-2B6231D85761}" presName="hierChild3" presStyleCnt="0"/>
      <dgm:spPr/>
    </dgm:pt>
    <dgm:pt modelId="{3E3AD7A9-3ACE-4300-BD5F-2FECCF7B2BCB}" type="pres">
      <dgm:prSet presAssocID="{9F707B30-1806-4513-B7FB-57D65758750C}" presName="Name10" presStyleLbl="parChTrans1D2" presStyleIdx="2" presStyleCnt="4"/>
      <dgm:spPr/>
      <dgm:t>
        <a:bodyPr/>
        <a:lstStyle/>
        <a:p>
          <a:endParaRPr lang="fr-FR"/>
        </a:p>
      </dgm:t>
    </dgm:pt>
    <dgm:pt modelId="{6123582B-B24F-46D2-B37B-522270A10575}" type="pres">
      <dgm:prSet presAssocID="{B9ABD3CC-3125-4FAE-9E0A-EE516B8C2ECE}" presName="hierRoot2" presStyleCnt="0"/>
      <dgm:spPr/>
    </dgm:pt>
    <dgm:pt modelId="{D6394F9C-A261-42E6-9CD4-91ABFBFA53C6}" type="pres">
      <dgm:prSet presAssocID="{B9ABD3CC-3125-4FAE-9E0A-EE516B8C2ECE}" presName="composite2" presStyleCnt="0"/>
      <dgm:spPr/>
    </dgm:pt>
    <dgm:pt modelId="{A307446C-BD3F-427A-B3ED-291FADCD99E2}" type="pres">
      <dgm:prSet presAssocID="{B9ABD3CC-3125-4FAE-9E0A-EE516B8C2ECE}" presName="background2" presStyleLbl="node2" presStyleIdx="2" presStyleCnt="4"/>
      <dgm:spPr/>
    </dgm:pt>
    <dgm:pt modelId="{9C5385E7-E06D-482B-A2A7-40E4F2660398}" type="pres">
      <dgm:prSet presAssocID="{B9ABD3CC-3125-4FAE-9E0A-EE516B8C2ECE}" presName="text2" presStyleLbl="fgAcc2" presStyleIdx="2" presStyleCnt="4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F62877EB-3BFB-4D61-AE52-26E3C135A618}" type="pres">
      <dgm:prSet presAssocID="{B9ABD3CC-3125-4FAE-9E0A-EE516B8C2ECE}" presName="hierChild3" presStyleCnt="0"/>
      <dgm:spPr/>
    </dgm:pt>
    <dgm:pt modelId="{684C22F9-EB90-4D08-8CB9-568A0E3FD84E}" type="pres">
      <dgm:prSet presAssocID="{AFFCAEC9-98DD-4AF2-88B4-A27B611F0347}" presName="Name10" presStyleLbl="parChTrans1D2" presStyleIdx="3" presStyleCnt="4"/>
      <dgm:spPr/>
      <dgm:t>
        <a:bodyPr/>
        <a:lstStyle/>
        <a:p>
          <a:endParaRPr lang="fr-FR"/>
        </a:p>
      </dgm:t>
    </dgm:pt>
    <dgm:pt modelId="{A57E62B7-483C-4DB2-A06F-3AEC7FA0A768}" type="pres">
      <dgm:prSet presAssocID="{AABD8BA1-D75D-4A75-BB8C-21E7BC8F218B}" presName="hierRoot2" presStyleCnt="0"/>
      <dgm:spPr/>
    </dgm:pt>
    <dgm:pt modelId="{24BE21BB-D5D2-4C52-AA70-68AED6841237}" type="pres">
      <dgm:prSet presAssocID="{AABD8BA1-D75D-4A75-BB8C-21E7BC8F218B}" presName="composite2" presStyleCnt="0"/>
      <dgm:spPr/>
    </dgm:pt>
    <dgm:pt modelId="{2B240697-5699-4207-937B-D5F0CAA92669}" type="pres">
      <dgm:prSet presAssocID="{AABD8BA1-D75D-4A75-BB8C-21E7BC8F218B}" presName="background2" presStyleLbl="node2" presStyleIdx="3" presStyleCnt="4"/>
      <dgm:spPr/>
    </dgm:pt>
    <dgm:pt modelId="{4BF8EF73-B82D-479A-9D12-7B387A256DA5}" type="pres">
      <dgm:prSet presAssocID="{AABD8BA1-D75D-4A75-BB8C-21E7BC8F218B}" presName="text2" presStyleLbl="fgAcc2" presStyleIdx="3" presStyleCnt="4" custScaleX="120479" custScaleY="106211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87ED1E6B-7A36-4A80-B737-21E538881CCF}" type="pres">
      <dgm:prSet presAssocID="{AABD8BA1-D75D-4A75-BB8C-21E7BC8F218B}" presName="hierChild3" presStyleCnt="0"/>
      <dgm:spPr/>
    </dgm:pt>
  </dgm:ptLst>
  <dgm:cxnLst>
    <dgm:cxn modelId="{19DB3C91-1376-476D-BD2A-DAB08945616B}" type="presOf" srcId="{9F707B30-1806-4513-B7FB-57D65758750C}" destId="{3E3AD7A9-3ACE-4300-BD5F-2FECCF7B2BCB}" srcOrd="0" destOrd="0" presId="urn:microsoft.com/office/officeart/2005/8/layout/hierarchy1"/>
    <dgm:cxn modelId="{6D1BE310-BAD5-4F1A-809D-93FEE5FD28F8}" srcId="{84542D8C-9B7F-4DD0-B25E-15E15FDFDCF8}" destId="{13CFF60B-88DE-4105-86E0-2B6231D85761}" srcOrd="1" destOrd="0" parTransId="{2CF77C1D-17C6-44BA-9C42-98AF532251D7}" sibTransId="{9AB602CE-C6A6-4C62-8E2E-0B3CFA339521}"/>
    <dgm:cxn modelId="{28449EAB-2C95-479A-8EFF-184E0BA70ED3}" type="presOf" srcId="{2CF77C1D-17C6-44BA-9C42-98AF532251D7}" destId="{07443246-5105-4386-BAD9-66EF14B814F8}" srcOrd="0" destOrd="0" presId="urn:microsoft.com/office/officeart/2005/8/layout/hierarchy1"/>
    <dgm:cxn modelId="{A18B91F4-7D45-400D-8542-3380F1E1A9D6}" type="presOf" srcId="{84542D8C-9B7F-4DD0-B25E-15E15FDFDCF8}" destId="{BFD097F7-24B2-453C-B8B8-6B7013F2407D}" srcOrd="0" destOrd="0" presId="urn:microsoft.com/office/officeart/2005/8/layout/hierarchy1"/>
    <dgm:cxn modelId="{F7D8C243-D3BC-412F-8F1A-40864D909D26}" type="presOf" srcId="{B9ABD3CC-3125-4FAE-9E0A-EE516B8C2ECE}" destId="{9C5385E7-E06D-482B-A2A7-40E4F2660398}" srcOrd="0" destOrd="0" presId="urn:microsoft.com/office/officeart/2005/8/layout/hierarchy1"/>
    <dgm:cxn modelId="{49966E7C-D90D-4EC7-B549-4DD89236C256}" srcId="{F068B0A2-9CBB-4167-8C54-9347930444BE}" destId="{84542D8C-9B7F-4DD0-B25E-15E15FDFDCF8}" srcOrd="0" destOrd="0" parTransId="{C764DD68-9402-4FE5-8406-499078F0A668}" sibTransId="{3CE3F1E9-6DFA-4089-A58E-0887E7037CA7}"/>
    <dgm:cxn modelId="{EF576F48-2FC8-456C-AF8B-C1DD6581F5EC}" type="presOf" srcId="{AFFCAEC9-98DD-4AF2-88B4-A27B611F0347}" destId="{684C22F9-EB90-4D08-8CB9-568A0E3FD84E}" srcOrd="0" destOrd="0" presId="urn:microsoft.com/office/officeart/2005/8/layout/hierarchy1"/>
    <dgm:cxn modelId="{855CAD22-F79F-4027-A317-71A143C4B714}" srcId="{84542D8C-9B7F-4DD0-B25E-15E15FDFDCF8}" destId="{B9ABD3CC-3125-4FAE-9E0A-EE516B8C2ECE}" srcOrd="2" destOrd="0" parTransId="{9F707B30-1806-4513-B7FB-57D65758750C}" sibTransId="{290729C9-8F11-43C0-928E-E75D99643CFB}"/>
    <dgm:cxn modelId="{181BF1DB-0CB1-4309-A5BF-9862E1984B94}" type="presOf" srcId="{13CFF60B-88DE-4105-86E0-2B6231D85761}" destId="{BEA9FC6B-CDB2-485D-81D7-EAC3531649EC}" srcOrd="0" destOrd="0" presId="urn:microsoft.com/office/officeart/2005/8/layout/hierarchy1"/>
    <dgm:cxn modelId="{66DC0C7F-C24C-41C3-8CD2-0EC8EB217EAD}" type="presOf" srcId="{0083CAA2-450A-416D-B331-883406B2F770}" destId="{02D42D61-6824-4933-A9FE-1FB0A795AD3C}" srcOrd="0" destOrd="0" presId="urn:microsoft.com/office/officeart/2005/8/layout/hierarchy1"/>
    <dgm:cxn modelId="{3C5C9E2D-2D41-4632-AEC6-B3610E3A2331}" type="presOf" srcId="{AABD8BA1-D75D-4A75-BB8C-21E7BC8F218B}" destId="{4BF8EF73-B82D-479A-9D12-7B387A256DA5}" srcOrd="0" destOrd="0" presId="urn:microsoft.com/office/officeart/2005/8/layout/hierarchy1"/>
    <dgm:cxn modelId="{DD67E815-8AD8-41B4-9CD5-DA4965495226}" type="presOf" srcId="{4E644AC2-1CB6-4147-A2A5-5719DB2FDA5C}" destId="{94954142-5BD0-44E5-A223-4AAED33A788D}" srcOrd="0" destOrd="0" presId="urn:microsoft.com/office/officeart/2005/8/layout/hierarchy1"/>
    <dgm:cxn modelId="{D8EED9F5-9055-43B6-B69D-BE822E732DFB}" type="presOf" srcId="{F068B0A2-9CBB-4167-8C54-9347930444BE}" destId="{5C700996-041F-4082-A0AB-E8D240216562}" srcOrd="0" destOrd="0" presId="urn:microsoft.com/office/officeart/2005/8/layout/hierarchy1"/>
    <dgm:cxn modelId="{067395BB-087A-4D21-8F91-A90A6069E8C6}" srcId="{84542D8C-9B7F-4DD0-B25E-15E15FDFDCF8}" destId="{4E644AC2-1CB6-4147-A2A5-5719DB2FDA5C}" srcOrd="0" destOrd="0" parTransId="{0083CAA2-450A-416D-B331-883406B2F770}" sibTransId="{1705C91B-C82F-4B25-9248-76C010E06931}"/>
    <dgm:cxn modelId="{D7B20021-4A37-4543-9438-CECFD51ED8BA}" srcId="{84542D8C-9B7F-4DD0-B25E-15E15FDFDCF8}" destId="{AABD8BA1-D75D-4A75-BB8C-21E7BC8F218B}" srcOrd="3" destOrd="0" parTransId="{AFFCAEC9-98DD-4AF2-88B4-A27B611F0347}" sibTransId="{A3F0C2E6-3340-45BB-8FA4-EB8C5CC1ED39}"/>
    <dgm:cxn modelId="{8724D412-D4AE-4B0B-A985-85CEE8968513}" type="presParOf" srcId="{5C700996-041F-4082-A0AB-E8D240216562}" destId="{57866BAB-BB89-468F-BAE9-AA9B563978DD}" srcOrd="0" destOrd="0" presId="urn:microsoft.com/office/officeart/2005/8/layout/hierarchy1"/>
    <dgm:cxn modelId="{9C309308-8A4C-40CB-A4EE-9E37E5BAF8FA}" type="presParOf" srcId="{57866BAB-BB89-468F-BAE9-AA9B563978DD}" destId="{1A41A708-9B1A-4B4E-B3D9-C2CC803C7166}" srcOrd="0" destOrd="0" presId="urn:microsoft.com/office/officeart/2005/8/layout/hierarchy1"/>
    <dgm:cxn modelId="{AF3ACC30-6258-4A54-BC01-0498FC69A48D}" type="presParOf" srcId="{1A41A708-9B1A-4B4E-B3D9-C2CC803C7166}" destId="{DB5A8B25-92CB-4554-8768-9579B1673CEF}" srcOrd="0" destOrd="0" presId="urn:microsoft.com/office/officeart/2005/8/layout/hierarchy1"/>
    <dgm:cxn modelId="{38E13C09-41CF-411C-97BF-81B9243C0753}" type="presParOf" srcId="{1A41A708-9B1A-4B4E-B3D9-C2CC803C7166}" destId="{BFD097F7-24B2-453C-B8B8-6B7013F2407D}" srcOrd="1" destOrd="0" presId="urn:microsoft.com/office/officeart/2005/8/layout/hierarchy1"/>
    <dgm:cxn modelId="{0A65A394-F4ED-444D-B311-A9B21659A38E}" type="presParOf" srcId="{57866BAB-BB89-468F-BAE9-AA9B563978DD}" destId="{834E54A9-9043-46B2-AEC6-1E2950D87A23}" srcOrd="1" destOrd="0" presId="urn:microsoft.com/office/officeart/2005/8/layout/hierarchy1"/>
    <dgm:cxn modelId="{BC62DE3A-50D2-4408-B55A-307134A3EE3C}" type="presParOf" srcId="{834E54A9-9043-46B2-AEC6-1E2950D87A23}" destId="{02D42D61-6824-4933-A9FE-1FB0A795AD3C}" srcOrd="0" destOrd="0" presId="urn:microsoft.com/office/officeart/2005/8/layout/hierarchy1"/>
    <dgm:cxn modelId="{48E07849-760D-448B-AFB9-B61742D18559}" type="presParOf" srcId="{834E54A9-9043-46B2-AEC6-1E2950D87A23}" destId="{5B7329E5-DC97-4AD3-8267-C68FF92A27A2}" srcOrd="1" destOrd="0" presId="urn:microsoft.com/office/officeart/2005/8/layout/hierarchy1"/>
    <dgm:cxn modelId="{DAF0AF9A-7DD2-4C30-AC75-542B623A897B}" type="presParOf" srcId="{5B7329E5-DC97-4AD3-8267-C68FF92A27A2}" destId="{F8E37E94-A805-423C-9578-2BA02D3ABE1D}" srcOrd="0" destOrd="0" presId="urn:microsoft.com/office/officeart/2005/8/layout/hierarchy1"/>
    <dgm:cxn modelId="{39B6C131-ADB9-4945-A809-26760A2EF33D}" type="presParOf" srcId="{F8E37E94-A805-423C-9578-2BA02D3ABE1D}" destId="{7CABF414-3CED-499F-9FE2-AF30CE5A9CD9}" srcOrd="0" destOrd="0" presId="urn:microsoft.com/office/officeart/2005/8/layout/hierarchy1"/>
    <dgm:cxn modelId="{5DDBB974-EDB1-4B94-B97B-547D3D850179}" type="presParOf" srcId="{F8E37E94-A805-423C-9578-2BA02D3ABE1D}" destId="{94954142-5BD0-44E5-A223-4AAED33A788D}" srcOrd="1" destOrd="0" presId="urn:microsoft.com/office/officeart/2005/8/layout/hierarchy1"/>
    <dgm:cxn modelId="{B9E1CF9D-5DD7-4964-8E36-D0DD1D8ADE98}" type="presParOf" srcId="{5B7329E5-DC97-4AD3-8267-C68FF92A27A2}" destId="{E46D1FD6-3BD0-4977-84C7-B3F364167118}" srcOrd="1" destOrd="0" presId="urn:microsoft.com/office/officeart/2005/8/layout/hierarchy1"/>
    <dgm:cxn modelId="{9B406AD1-FAAC-469B-864F-55AA974B7896}" type="presParOf" srcId="{834E54A9-9043-46B2-AEC6-1E2950D87A23}" destId="{07443246-5105-4386-BAD9-66EF14B814F8}" srcOrd="2" destOrd="0" presId="urn:microsoft.com/office/officeart/2005/8/layout/hierarchy1"/>
    <dgm:cxn modelId="{BDC5A9B2-1A1C-4384-A7F3-3A157C1449C9}" type="presParOf" srcId="{834E54A9-9043-46B2-AEC6-1E2950D87A23}" destId="{04AE75E3-E62D-419F-A31E-69D0EAF1437F}" srcOrd="3" destOrd="0" presId="urn:microsoft.com/office/officeart/2005/8/layout/hierarchy1"/>
    <dgm:cxn modelId="{E5A71286-B201-475C-B90A-CC060D96C6E7}" type="presParOf" srcId="{04AE75E3-E62D-419F-A31E-69D0EAF1437F}" destId="{AE88CC78-CC90-468F-8987-89C378CF3F8E}" srcOrd="0" destOrd="0" presId="urn:microsoft.com/office/officeart/2005/8/layout/hierarchy1"/>
    <dgm:cxn modelId="{90A2B30A-41CE-46F9-B319-CED1080F2BF4}" type="presParOf" srcId="{AE88CC78-CC90-468F-8987-89C378CF3F8E}" destId="{BBB72ABC-67F3-4082-93DC-983E0F21A119}" srcOrd="0" destOrd="0" presId="urn:microsoft.com/office/officeart/2005/8/layout/hierarchy1"/>
    <dgm:cxn modelId="{07A461A6-49F7-4F48-A49A-C8E317433E76}" type="presParOf" srcId="{AE88CC78-CC90-468F-8987-89C378CF3F8E}" destId="{BEA9FC6B-CDB2-485D-81D7-EAC3531649EC}" srcOrd="1" destOrd="0" presId="urn:microsoft.com/office/officeart/2005/8/layout/hierarchy1"/>
    <dgm:cxn modelId="{9E2AA462-B8E6-4C49-971A-31907D30CFA9}" type="presParOf" srcId="{04AE75E3-E62D-419F-A31E-69D0EAF1437F}" destId="{64D13061-8460-42D6-9383-607617115A57}" srcOrd="1" destOrd="0" presId="urn:microsoft.com/office/officeart/2005/8/layout/hierarchy1"/>
    <dgm:cxn modelId="{AECCD4F7-53FC-4F7D-A68A-3FF5AD836EAB}" type="presParOf" srcId="{834E54A9-9043-46B2-AEC6-1E2950D87A23}" destId="{3E3AD7A9-3ACE-4300-BD5F-2FECCF7B2BCB}" srcOrd="4" destOrd="0" presId="urn:microsoft.com/office/officeart/2005/8/layout/hierarchy1"/>
    <dgm:cxn modelId="{2AE5089A-DCB1-477D-9977-B441FEFDB476}" type="presParOf" srcId="{834E54A9-9043-46B2-AEC6-1E2950D87A23}" destId="{6123582B-B24F-46D2-B37B-522270A10575}" srcOrd="5" destOrd="0" presId="urn:microsoft.com/office/officeart/2005/8/layout/hierarchy1"/>
    <dgm:cxn modelId="{54A6D051-2529-4626-8CE3-E322C6205F97}" type="presParOf" srcId="{6123582B-B24F-46D2-B37B-522270A10575}" destId="{D6394F9C-A261-42E6-9CD4-91ABFBFA53C6}" srcOrd="0" destOrd="0" presId="urn:microsoft.com/office/officeart/2005/8/layout/hierarchy1"/>
    <dgm:cxn modelId="{10EBBACF-D610-455F-A7D2-D0D1391C698F}" type="presParOf" srcId="{D6394F9C-A261-42E6-9CD4-91ABFBFA53C6}" destId="{A307446C-BD3F-427A-B3ED-291FADCD99E2}" srcOrd="0" destOrd="0" presId="urn:microsoft.com/office/officeart/2005/8/layout/hierarchy1"/>
    <dgm:cxn modelId="{0FBA34FE-CF0B-4CAD-93E6-536953E8A6E7}" type="presParOf" srcId="{D6394F9C-A261-42E6-9CD4-91ABFBFA53C6}" destId="{9C5385E7-E06D-482B-A2A7-40E4F2660398}" srcOrd="1" destOrd="0" presId="urn:microsoft.com/office/officeart/2005/8/layout/hierarchy1"/>
    <dgm:cxn modelId="{496AA886-E426-43FC-BAAD-7FEAC4B357B0}" type="presParOf" srcId="{6123582B-B24F-46D2-B37B-522270A10575}" destId="{F62877EB-3BFB-4D61-AE52-26E3C135A618}" srcOrd="1" destOrd="0" presId="urn:microsoft.com/office/officeart/2005/8/layout/hierarchy1"/>
    <dgm:cxn modelId="{1828613F-E523-404B-A598-5E73661613B1}" type="presParOf" srcId="{834E54A9-9043-46B2-AEC6-1E2950D87A23}" destId="{684C22F9-EB90-4D08-8CB9-568A0E3FD84E}" srcOrd="6" destOrd="0" presId="urn:microsoft.com/office/officeart/2005/8/layout/hierarchy1"/>
    <dgm:cxn modelId="{76442AC6-C029-4EF2-9F58-F951DC87E0D9}" type="presParOf" srcId="{834E54A9-9043-46B2-AEC6-1E2950D87A23}" destId="{A57E62B7-483C-4DB2-A06F-3AEC7FA0A768}" srcOrd="7" destOrd="0" presId="urn:microsoft.com/office/officeart/2005/8/layout/hierarchy1"/>
    <dgm:cxn modelId="{FB4D7173-708E-4821-BA3C-8608D9903F91}" type="presParOf" srcId="{A57E62B7-483C-4DB2-A06F-3AEC7FA0A768}" destId="{24BE21BB-D5D2-4C52-AA70-68AED6841237}" srcOrd="0" destOrd="0" presId="urn:microsoft.com/office/officeart/2005/8/layout/hierarchy1"/>
    <dgm:cxn modelId="{43B858BB-4CA1-4F18-82C8-9CAC46652C33}" type="presParOf" srcId="{24BE21BB-D5D2-4C52-AA70-68AED6841237}" destId="{2B240697-5699-4207-937B-D5F0CAA92669}" srcOrd="0" destOrd="0" presId="urn:microsoft.com/office/officeart/2005/8/layout/hierarchy1"/>
    <dgm:cxn modelId="{53AED35F-2710-447A-8F94-C607E9676838}" type="presParOf" srcId="{24BE21BB-D5D2-4C52-AA70-68AED6841237}" destId="{4BF8EF73-B82D-479A-9D12-7B387A256DA5}" srcOrd="1" destOrd="0" presId="urn:microsoft.com/office/officeart/2005/8/layout/hierarchy1"/>
    <dgm:cxn modelId="{E3033E3D-7D8E-48ED-9A0D-814B97690CEF}" type="presParOf" srcId="{A57E62B7-483C-4DB2-A06F-3AEC7FA0A768}" destId="{87ED1E6B-7A36-4A80-B737-21E538881CCF}" srcOrd="1" destOrd="0" presId="urn:microsoft.com/office/officeart/2005/8/layout/hierarchy1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C9BD927-0B4E-462D-B480-5FD0624DC1F9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108426F-3107-419E-ADD0-3904318F45C0}">
      <dgm:prSet phldrT="[Texte]" custT="1"/>
      <dgm:spPr/>
      <dgm:t>
        <a:bodyPr/>
        <a:lstStyle/>
        <a:p>
          <a:r>
            <a:rPr lang="fr-FR" sz="2000" dirty="0" smtClean="0"/>
            <a:t>1</a:t>
          </a:r>
          <a:endParaRPr lang="fr-FR" sz="2000" dirty="0"/>
        </a:p>
      </dgm:t>
    </dgm:pt>
    <dgm:pt modelId="{3160C446-1305-41B9-99D2-4A00340658D8}" type="parTrans" cxnId="{D38B9EE2-8E25-4F1B-AA7A-6D71B27FE2F6}">
      <dgm:prSet/>
      <dgm:spPr/>
      <dgm:t>
        <a:bodyPr/>
        <a:lstStyle/>
        <a:p>
          <a:endParaRPr lang="fr-FR"/>
        </a:p>
      </dgm:t>
    </dgm:pt>
    <dgm:pt modelId="{529E0CFE-6FA8-4EA2-AB2C-9A854A0DF9EC}" type="sibTrans" cxnId="{D38B9EE2-8E25-4F1B-AA7A-6D71B27FE2F6}">
      <dgm:prSet/>
      <dgm:spPr/>
      <dgm:t>
        <a:bodyPr/>
        <a:lstStyle/>
        <a:p>
          <a:endParaRPr lang="fr-FR"/>
        </a:p>
      </dgm:t>
    </dgm:pt>
    <dgm:pt modelId="{37722D96-743F-4740-B25E-B436D30977F4}">
      <dgm:prSet phldrT="[Texte]" custT="1"/>
      <dgm:spPr/>
      <dgm:t>
        <a:bodyPr/>
        <a:lstStyle/>
        <a:p>
          <a:r>
            <a:rPr lang="fr-FR" sz="2400" dirty="0" smtClean="0"/>
            <a:t>Probabilité d’activation</a:t>
          </a:r>
          <a:endParaRPr lang="fr-FR" sz="2400" dirty="0"/>
        </a:p>
      </dgm:t>
    </dgm:pt>
    <dgm:pt modelId="{1693B7C1-D09B-4C16-926F-161690EE26AD}" type="parTrans" cxnId="{DDA8C532-0344-451B-9AEE-C3E048B09A13}">
      <dgm:prSet/>
      <dgm:spPr/>
      <dgm:t>
        <a:bodyPr/>
        <a:lstStyle/>
        <a:p>
          <a:endParaRPr lang="fr-FR"/>
        </a:p>
      </dgm:t>
    </dgm:pt>
    <dgm:pt modelId="{9D38BA6C-FCF6-468C-A4A4-8D19FD68B18D}" type="sibTrans" cxnId="{DDA8C532-0344-451B-9AEE-C3E048B09A13}">
      <dgm:prSet/>
      <dgm:spPr/>
      <dgm:t>
        <a:bodyPr/>
        <a:lstStyle/>
        <a:p>
          <a:endParaRPr lang="fr-FR"/>
        </a:p>
      </dgm:t>
    </dgm:pt>
    <dgm:pt modelId="{E7635855-6751-40F7-9733-150EBB3A207C}">
      <dgm:prSet phldrT="[Texte]" custT="1"/>
      <dgm:spPr/>
      <dgm:t>
        <a:bodyPr/>
        <a:lstStyle/>
        <a:p>
          <a:r>
            <a:rPr lang="fr-FR" sz="2000" dirty="0" smtClean="0"/>
            <a:t>2</a:t>
          </a:r>
          <a:endParaRPr lang="fr-FR" sz="2000" dirty="0"/>
        </a:p>
      </dgm:t>
    </dgm:pt>
    <dgm:pt modelId="{C78037DE-B333-486E-86E0-582C7E8FEA24}" type="parTrans" cxnId="{64DCF909-0DCF-479A-854B-15E4AC71DF57}">
      <dgm:prSet/>
      <dgm:spPr/>
      <dgm:t>
        <a:bodyPr/>
        <a:lstStyle/>
        <a:p>
          <a:endParaRPr lang="fr-FR"/>
        </a:p>
      </dgm:t>
    </dgm:pt>
    <dgm:pt modelId="{0146CA08-39DD-4FDF-8FAB-FB1C798BC1AF}" type="sibTrans" cxnId="{64DCF909-0DCF-479A-854B-15E4AC71DF57}">
      <dgm:prSet/>
      <dgm:spPr/>
      <dgm:t>
        <a:bodyPr/>
        <a:lstStyle/>
        <a:p>
          <a:endParaRPr lang="fr-FR"/>
        </a:p>
      </dgm:t>
    </dgm:pt>
    <dgm:pt modelId="{6C2D6244-7156-4A9B-BCA5-0164F8FFFED8}">
      <dgm:prSet phldrT="[Texte]" custT="1"/>
      <dgm:spPr/>
      <dgm:t>
        <a:bodyPr/>
        <a:lstStyle/>
        <a:p>
          <a:r>
            <a:rPr lang="fr-FR" sz="2400" dirty="0" smtClean="0"/>
            <a:t>Probabilité de choix de paramètres</a:t>
          </a:r>
          <a:endParaRPr lang="fr-FR" sz="2400" dirty="0"/>
        </a:p>
      </dgm:t>
    </dgm:pt>
    <dgm:pt modelId="{126BD29E-620B-48FE-865D-115E7C577F83}" type="parTrans" cxnId="{B3546BD6-4903-4C26-861B-0414FD948998}">
      <dgm:prSet/>
      <dgm:spPr/>
      <dgm:t>
        <a:bodyPr/>
        <a:lstStyle/>
        <a:p>
          <a:endParaRPr lang="fr-FR"/>
        </a:p>
      </dgm:t>
    </dgm:pt>
    <dgm:pt modelId="{A2AAB7B1-03F4-4AB6-A501-5DBEF6C314D2}" type="sibTrans" cxnId="{B3546BD6-4903-4C26-861B-0414FD948998}">
      <dgm:prSet/>
      <dgm:spPr/>
      <dgm:t>
        <a:bodyPr/>
        <a:lstStyle/>
        <a:p>
          <a:endParaRPr lang="fr-FR"/>
        </a:p>
      </dgm:t>
    </dgm:pt>
    <dgm:pt modelId="{AC16CF4D-661C-4BDB-B896-4D0B354F7CD6}">
      <dgm:prSet phldrT="[Texte]" custT="1"/>
      <dgm:spPr/>
      <dgm:t>
        <a:bodyPr/>
        <a:lstStyle/>
        <a:p>
          <a:r>
            <a:rPr lang="fr-FR" sz="2000" dirty="0" smtClean="0"/>
            <a:t>3</a:t>
          </a:r>
          <a:endParaRPr lang="fr-FR" sz="2000" dirty="0"/>
        </a:p>
      </dgm:t>
    </dgm:pt>
    <dgm:pt modelId="{D8738807-84E6-4E4D-8EC3-14B622478C96}" type="parTrans" cxnId="{B8147820-C00B-4C91-B5F4-B28E0A462900}">
      <dgm:prSet/>
      <dgm:spPr/>
      <dgm:t>
        <a:bodyPr/>
        <a:lstStyle/>
        <a:p>
          <a:endParaRPr lang="fr-FR"/>
        </a:p>
      </dgm:t>
    </dgm:pt>
    <dgm:pt modelId="{814C635F-4301-404E-AB05-740D9D06AD7D}" type="sibTrans" cxnId="{B8147820-C00B-4C91-B5F4-B28E0A462900}">
      <dgm:prSet/>
      <dgm:spPr/>
      <dgm:t>
        <a:bodyPr/>
        <a:lstStyle/>
        <a:p>
          <a:endParaRPr lang="fr-FR"/>
        </a:p>
      </dgm:t>
    </dgm:pt>
    <dgm:pt modelId="{7FFC67CA-7EC0-4A18-95DF-AE6F26BF45D4}">
      <dgm:prSet phldrT="[Texte]" custT="1"/>
      <dgm:spPr/>
      <dgm:t>
        <a:bodyPr/>
        <a:lstStyle/>
        <a:p>
          <a:r>
            <a:rPr lang="fr-FR" sz="2400" dirty="0" smtClean="0"/>
            <a:t>Probabilité liée à la substitution</a:t>
          </a:r>
          <a:endParaRPr lang="fr-FR" sz="2400" dirty="0"/>
        </a:p>
      </dgm:t>
    </dgm:pt>
    <dgm:pt modelId="{FD118816-1A03-41B6-BA15-437BA8DBDB5A}" type="parTrans" cxnId="{BE06F398-A900-4454-8A39-341B9DB6C233}">
      <dgm:prSet/>
      <dgm:spPr/>
      <dgm:t>
        <a:bodyPr/>
        <a:lstStyle/>
        <a:p>
          <a:endParaRPr lang="fr-FR"/>
        </a:p>
      </dgm:t>
    </dgm:pt>
    <dgm:pt modelId="{250BC35A-E500-4511-8F6D-AD86F47CC039}" type="sibTrans" cxnId="{BE06F398-A900-4454-8A39-341B9DB6C233}">
      <dgm:prSet/>
      <dgm:spPr/>
      <dgm:t>
        <a:bodyPr/>
        <a:lstStyle/>
        <a:p>
          <a:endParaRPr lang="fr-FR"/>
        </a:p>
      </dgm:t>
    </dgm:pt>
    <dgm:pt modelId="{4523253B-2131-430E-8D5E-6515067A1DFB}" type="pres">
      <dgm:prSet presAssocID="{DC9BD927-0B4E-462D-B480-5FD0624DC1F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058FB1D7-D6EC-483B-9473-9DEAD797C6BC}" type="pres">
      <dgm:prSet presAssocID="{B108426F-3107-419E-ADD0-3904318F45C0}" presName="linNode" presStyleCnt="0"/>
      <dgm:spPr/>
    </dgm:pt>
    <dgm:pt modelId="{333973FA-77F6-429B-BEBA-570C5FD32F31}" type="pres">
      <dgm:prSet presAssocID="{B108426F-3107-419E-ADD0-3904318F45C0}" presName="parentText" presStyleLbl="node1" presStyleIdx="0" presStyleCnt="3" custScaleX="36720" custScaleY="51808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7CCEA27-9AC2-4C0B-A76D-93C2170B8CFE}" type="pres">
      <dgm:prSet presAssocID="{B108426F-3107-419E-ADD0-3904318F45C0}" presName="descendantText" presStyleLbl="alignAccFollowNode1" presStyleIdx="0" presStyleCnt="3" custScaleX="12649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A3F553A-220F-49E8-BD29-1AEC3105614F}" type="pres">
      <dgm:prSet presAssocID="{529E0CFE-6FA8-4EA2-AB2C-9A854A0DF9EC}" presName="sp" presStyleCnt="0"/>
      <dgm:spPr/>
    </dgm:pt>
    <dgm:pt modelId="{5FEC281B-45C0-448A-9049-44FA8842A4A4}" type="pres">
      <dgm:prSet presAssocID="{E7635855-6751-40F7-9733-150EBB3A207C}" presName="linNode" presStyleCnt="0"/>
      <dgm:spPr/>
    </dgm:pt>
    <dgm:pt modelId="{427A85D0-B566-4588-8DFD-B565A4627921}" type="pres">
      <dgm:prSet presAssocID="{E7635855-6751-40F7-9733-150EBB3A207C}" presName="parentText" presStyleLbl="node1" presStyleIdx="1" presStyleCnt="3" custScaleX="36719" custScaleY="5377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3FBF037-8439-4504-9ADE-C6AC120F4E02}" type="pres">
      <dgm:prSet presAssocID="{E7635855-6751-40F7-9733-150EBB3A207C}" presName="descendantText" presStyleLbl="alignAccFollowNode1" presStyleIdx="1" presStyleCnt="3" custScaleX="12649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534583-83D1-4558-99CB-47E5464645A1}" type="pres">
      <dgm:prSet presAssocID="{0146CA08-39DD-4FDF-8FAB-FB1C798BC1AF}" presName="sp" presStyleCnt="0"/>
      <dgm:spPr/>
    </dgm:pt>
    <dgm:pt modelId="{A1FD6171-CC2C-4001-B198-60B61740F67C}" type="pres">
      <dgm:prSet presAssocID="{AC16CF4D-661C-4BDB-B896-4D0B354F7CD6}" presName="linNode" presStyleCnt="0"/>
      <dgm:spPr/>
    </dgm:pt>
    <dgm:pt modelId="{844312C4-97C0-4436-B740-7A0C1668DE95}" type="pres">
      <dgm:prSet presAssocID="{AC16CF4D-661C-4BDB-B896-4D0B354F7CD6}" presName="parentText" presStyleLbl="node1" presStyleIdx="2" presStyleCnt="3" custScaleX="36720" custScaleY="46957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2E3F52F-A002-4DED-B2B5-B2328DE6923D}" type="pres">
      <dgm:prSet presAssocID="{AC16CF4D-661C-4BDB-B896-4D0B354F7CD6}" presName="descendantText" presStyleLbl="alignAccFollowNode1" presStyleIdx="2" presStyleCnt="3" custScaleX="12730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BE76C53-3FF8-40ED-8396-30A9F69E04BF}" type="presOf" srcId="{37722D96-743F-4740-B25E-B436D30977F4}" destId="{D7CCEA27-9AC2-4C0B-A76D-93C2170B8CFE}" srcOrd="0" destOrd="0" presId="urn:microsoft.com/office/officeart/2005/8/layout/vList5"/>
    <dgm:cxn modelId="{6A2EABA7-CE67-4F17-BAB5-36CC61C02473}" type="presOf" srcId="{6C2D6244-7156-4A9B-BCA5-0164F8FFFED8}" destId="{C3FBF037-8439-4504-9ADE-C6AC120F4E02}" srcOrd="0" destOrd="0" presId="urn:microsoft.com/office/officeart/2005/8/layout/vList5"/>
    <dgm:cxn modelId="{DDA8C532-0344-451B-9AEE-C3E048B09A13}" srcId="{B108426F-3107-419E-ADD0-3904318F45C0}" destId="{37722D96-743F-4740-B25E-B436D30977F4}" srcOrd="0" destOrd="0" parTransId="{1693B7C1-D09B-4C16-926F-161690EE26AD}" sibTransId="{9D38BA6C-FCF6-468C-A4A4-8D19FD68B18D}"/>
    <dgm:cxn modelId="{CD9DA3CA-188F-4771-B756-442A3995CA63}" type="presOf" srcId="{B108426F-3107-419E-ADD0-3904318F45C0}" destId="{333973FA-77F6-429B-BEBA-570C5FD32F31}" srcOrd="0" destOrd="0" presId="urn:microsoft.com/office/officeart/2005/8/layout/vList5"/>
    <dgm:cxn modelId="{C0268A9F-67C3-4837-97CA-8704DA466BCC}" type="presOf" srcId="{DC9BD927-0B4E-462D-B480-5FD0624DC1F9}" destId="{4523253B-2131-430E-8D5E-6515067A1DFB}" srcOrd="0" destOrd="0" presId="urn:microsoft.com/office/officeart/2005/8/layout/vList5"/>
    <dgm:cxn modelId="{85B7A5A0-3A72-4246-9359-7E834D7FE63A}" type="presOf" srcId="{AC16CF4D-661C-4BDB-B896-4D0B354F7CD6}" destId="{844312C4-97C0-4436-B740-7A0C1668DE95}" srcOrd="0" destOrd="0" presId="urn:microsoft.com/office/officeart/2005/8/layout/vList5"/>
    <dgm:cxn modelId="{B3546BD6-4903-4C26-861B-0414FD948998}" srcId="{E7635855-6751-40F7-9733-150EBB3A207C}" destId="{6C2D6244-7156-4A9B-BCA5-0164F8FFFED8}" srcOrd="0" destOrd="0" parTransId="{126BD29E-620B-48FE-865D-115E7C577F83}" sibTransId="{A2AAB7B1-03F4-4AB6-A501-5DBEF6C314D2}"/>
    <dgm:cxn modelId="{0A5CB897-7ED5-4371-BAB1-D31A8AB62195}" type="presOf" srcId="{7FFC67CA-7EC0-4A18-95DF-AE6F26BF45D4}" destId="{F2E3F52F-A002-4DED-B2B5-B2328DE6923D}" srcOrd="0" destOrd="0" presId="urn:microsoft.com/office/officeart/2005/8/layout/vList5"/>
    <dgm:cxn modelId="{64DCF909-0DCF-479A-854B-15E4AC71DF57}" srcId="{DC9BD927-0B4E-462D-B480-5FD0624DC1F9}" destId="{E7635855-6751-40F7-9733-150EBB3A207C}" srcOrd="1" destOrd="0" parTransId="{C78037DE-B333-486E-86E0-582C7E8FEA24}" sibTransId="{0146CA08-39DD-4FDF-8FAB-FB1C798BC1AF}"/>
    <dgm:cxn modelId="{CC1EA46E-E1BC-4B94-A7C3-D16AD670FB63}" type="presOf" srcId="{E7635855-6751-40F7-9733-150EBB3A207C}" destId="{427A85D0-B566-4588-8DFD-B565A4627921}" srcOrd="0" destOrd="0" presId="urn:microsoft.com/office/officeart/2005/8/layout/vList5"/>
    <dgm:cxn modelId="{D38B9EE2-8E25-4F1B-AA7A-6D71B27FE2F6}" srcId="{DC9BD927-0B4E-462D-B480-5FD0624DC1F9}" destId="{B108426F-3107-419E-ADD0-3904318F45C0}" srcOrd="0" destOrd="0" parTransId="{3160C446-1305-41B9-99D2-4A00340658D8}" sibTransId="{529E0CFE-6FA8-4EA2-AB2C-9A854A0DF9EC}"/>
    <dgm:cxn modelId="{BE06F398-A900-4454-8A39-341B9DB6C233}" srcId="{AC16CF4D-661C-4BDB-B896-4D0B354F7CD6}" destId="{7FFC67CA-7EC0-4A18-95DF-AE6F26BF45D4}" srcOrd="0" destOrd="0" parTransId="{FD118816-1A03-41B6-BA15-437BA8DBDB5A}" sibTransId="{250BC35A-E500-4511-8F6D-AD86F47CC039}"/>
    <dgm:cxn modelId="{B8147820-C00B-4C91-B5F4-B28E0A462900}" srcId="{DC9BD927-0B4E-462D-B480-5FD0624DC1F9}" destId="{AC16CF4D-661C-4BDB-B896-4D0B354F7CD6}" srcOrd="2" destOrd="0" parTransId="{D8738807-84E6-4E4D-8EC3-14B622478C96}" sibTransId="{814C635F-4301-404E-AB05-740D9D06AD7D}"/>
    <dgm:cxn modelId="{EE96CF07-E334-4617-9535-07C2EB886EF9}" type="presParOf" srcId="{4523253B-2131-430E-8D5E-6515067A1DFB}" destId="{058FB1D7-D6EC-483B-9473-9DEAD797C6BC}" srcOrd="0" destOrd="0" presId="urn:microsoft.com/office/officeart/2005/8/layout/vList5"/>
    <dgm:cxn modelId="{0B4F239E-2A0F-44FC-BADE-C6FF2614F078}" type="presParOf" srcId="{058FB1D7-D6EC-483B-9473-9DEAD797C6BC}" destId="{333973FA-77F6-429B-BEBA-570C5FD32F31}" srcOrd="0" destOrd="0" presId="urn:microsoft.com/office/officeart/2005/8/layout/vList5"/>
    <dgm:cxn modelId="{E93C32DF-E044-4928-AFB0-6E4C07C2B75C}" type="presParOf" srcId="{058FB1D7-D6EC-483B-9473-9DEAD797C6BC}" destId="{D7CCEA27-9AC2-4C0B-A76D-93C2170B8CFE}" srcOrd="1" destOrd="0" presId="urn:microsoft.com/office/officeart/2005/8/layout/vList5"/>
    <dgm:cxn modelId="{F841A0D1-AB9D-477D-B9CF-5DAAB2EB77E5}" type="presParOf" srcId="{4523253B-2131-430E-8D5E-6515067A1DFB}" destId="{FA3F553A-220F-49E8-BD29-1AEC3105614F}" srcOrd="1" destOrd="0" presId="urn:microsoft.com/office/officeart/2005/8/layout/vList5"/>
    <dgm:cxn modelId="{AB35FB51-31F5-4ED1-BA00-BD6C92AF1BB0}" type="presParOf" srcId="{4523253B-2131-430E-8D5E-6515067A1DFB}" destId="{5FEC281B-45C0-448A-9049-44FA8842A4A4}" srcOrd="2" destOrd="0" presId="urn:microsoft.com/office/officeart/2005/8/layout/vList5"/>
    <dgm:cxn modelId="{2500573C-089C-4808-8B4C-E7FBB69CFE92}" type="presParOf" srcId="{5FEC281B-45C0-448A-9049-44FA8842A4A4}" destId="{427A85D0-B566-4588-8DFD-B565A4627921}" srcOrd="0" destOrd="0" presId="urn:microsoft.com/office/officeart/2005/8/layout/vList5"/>
    <dgm:cxn modelId="{D88CDE0C-7489-4EC2-A78F-DC80300830CB}" type="presParOf" srcId="{5FEC281B-45C0-448A-9049-44FA8842A4A4}" destId="{C3FBF037-8439-4504-9ADE-C6AC120F4E02}" srcOrd="1" destOrd="0" presId="urn:microsoft.com/office/officeart/2005/8/layout/vList5"/>
    <dgm:cxn modelId="{BEDB6D1D-AF42-48DC-BA14-D1F4D5B75E8A}" type="presParOf" srcId="{4523253B-2131-430E-8D5E-6515067A1DFB}" destId="{0B534583-83D1-4558-99CB-47E5464645A1}" srcOrd="3" destOrd="0" presId="urn:microsoft.com/office/officeart/2005/8/layout/vList5"/>
    <dgm:cxn modelId="{6B74D23D-51A7-4D58-BFAA-AAECB1D2F12F}" type="presParOf" srcId="{4523253B-2131-430E-8D5E-6515067A1DFB}" destId="{A1FD6171-CC2C-4001-B198-60B61740F67C}" srcOrd="4" destOrd="0" presId="urn:microsoft.com/office/officeart/2005/8/layout/vList5"/>
    <dgm:cxn modelId="{94EEDB4F-D6D9-407A-873C-7F38B9895CF2}" type="presParOf" srcId="{A1FD6171-CC2C-4001-B198-60B61740F67C}" destId="{844312C4-97C0-4436-B740-7A0C1668DE95}" srcOrd="0" destOrd="0" presId="urn:microsoft.com/office/officeart/2005/8/layout/vList5"/>
    <dgm:cxn modelId="{F18C57E1-05C3-4102-9796-C4D369D29975}" type="presParOf" srcId="{A1FD6171-CC2C-4001-B198-60B61740F67C}" destId="{F2E3F52F-A002-4DED-B2B5-B2328DE6923D}" srcOrd="1" destOrd="0" presId="urn:microsoft.com/office/officeart/2005/8/layout/vList5"/>
  </dgm:cxnLst>
  <dgm:bg/>
  <dgm:whole/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7C2BB0C-CD53-4B6D-9118-6BEC4B60920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5D4B35C-E007-4B0D-A61F-28B24B527894}">
      <dgm:prSet phldrT="[Texte]"/>
      <dgm:spPr/>
      <dgm:t>
        <a:bodyPr/>
        <a:lstStyle/>
        <a:p>
          <a:r>
            <a:rPr lang="fr-FR" dirty="0" err="1" smtClean="0"/>
            <a:t>eBOUND</a:t>
          </a:r>
          <a:r>
            <a:rPr lang="fr-FR" dirty="0" smtClean="0"/>
            <a:t>/WD</a:t>
          </a:r>
          <a:endParaRPr lang="fr-FR" dirty="0"/>
        </a:p>
      </dgm:t>
    </dgm:pt>
    <dgm:pt modelId="{9FB77165-14E8-4E68-B6E5-43D6386C31F9}" type="parTrans" cxnId="{2C89126E-5A90-4204-A2D2-99B1FA3E1455}">
      <dgm:prSet/>
      <dgm:spPr/>
      <dgm:t>
        <a:bodyPr/>
        <a:lstStyle/>
        <a:p>
          <a:endParaRPr lang="fr-FR"/>
        </a:p>
      </dgm:t>
    </dgm:pt>
    <dgm:pt modelId="{28577634-A917-44DD-9025-CD5D1C1807F0}" type="sibTrans" cxnId="{2C89126E-5A90-4204-A2D2-99B1FA3E1455}">
      <dgm:prSet/>
      <dgm:spPr/>
      <dgm:t>
        <a:bodyPr/>
        <a:lstStyle/>
        <a:p>
          <a:endParaRPr lang="fr-FR"/>
        </a:p>
      </dgm:t>
    </dgm:pt>
    <dgm:pt modelId="{3392BA11-D137-4AB5-A4BB-80F610C9D679}">
      <dgm:prSet phldrT="[Texte]" phldr="1"/>
      <dgm:spPr/>
      <dgm:t>
        <a:bodyPr/>
        <a:lstStyle/>
        <a:p>
          <a:endParaRPr lang="fr-FR"/>
        </a:p>
      </dgm:t>
    </dgm:pt>
    <dgm:pt modelId="{03BDB950-D0C4-4CAE-BE18-6014E876A5EE}" type="parTrans" cxnId="{96F82762-65D2-4B61-9ED1-830FAC86C480}">
      <dgm:prSet/>
      <dgm:spPr/>
      <dgm:t>
        <a:bodyPr/>
        <a:lstStyle/>
        <a:p>
          <a:endParaRPr lang="fr-FR"/>
        </a:p>
      </dgm:t>
    </dgm:pt>
    <dgm:pt modelId="{217B3BF2-B3C5-494F-9EFE-196B411ABDDE}" type="sibTrans" cxnId="{96F82762-65D2-4B61-9ED1-830FAC86C480}">
      <dgm:prSet/>
      <dgm:spPr/>
      <dgm:t>
        <a:bodyPr/>
        <a:lstStyle/>
        <a:p>
          <a:endParaRPr lang="fr-FR"/>
        </a:p>
      </dgm:t>
    </dgm:pt>
    <dgm:pt modelId="{C245FF08-8BFF-4805-9F28-3C7A74363CB6}">
      <dgm:prSet phldrT="[Texte]" phldr="1"/>
      <dgm:spPr/>
      <dgm:t>
        <a:bodyPr/>
        <a:lstStyle/>
        <a:p>
          <a:endParaRPr lang="fr-FR"/>
        </a:p>
      </dgm:t>
    </dgm:pt>
    <dgm:pt modelId="{833DD922-FDCB-41B4-8CF0-F3FB24E44741}" type="parTrans" cxnId="{6BEAE374-C074-4638-849D-E5BFE067AF2D}">
      <dgm:prSet/>
      <dgm:spPr/>
      <dgm:t>
        <a:bodyPr/>
        <a:lstStyle/>
        <a:p>
          <a:endParaRPr lang="fr-FR"/>
        </a:p>
      </dgm:t>
    </dgm:pt>
    <dgm:pt modelId="{3B0350F9-4302-4935-BA50-B52FA347C061}" type="sibTrans" cxnId="{6BEAE374-C074-4638-849D-E5BFE067AF2D}">
      <dgm:prSet/>
      <dgm:spPr/>
      <dgm:t>
        <a:bodyPr/>
        <a:lstStyle/>
        <a:p>
          <a:endParaRPr lang="fr-FR"/>
        </a:p>
      </dgm:t>
    </dgm:pt>
    <dgm:pt modelId="{FDA9C281-E528-49F8-B305-84D0033694B1}">
      <dgm:prSet phldrT="[Texte]"/>
      <dgm:spPr/>
      <dgm:t>
        <a:bodyPr/>
        <a:lstStyle/>
        <a:p>
          <a:r>
            <a:rPr lang="fr-FR" dirty="0" err="1" smtClean="0"/>
            <a:t>event</a:t>
          </a:r>
          <a:r>
            <a:rPr lang="fr-FR" dirty="0" smtClean="0"/>
            <a:t>/</a:t>
          </a:r>
          <a:r>
            <a:rPr lang="fr-FR" dirty="0" err="1" smtClean="0"/>
            <a:t>wght</a:t>
          </a:r>
          <a:r>
            <a:rPr lang="fr-FR" dirty="0" smtClean="0"/>
            <a:t>/</a:t>
          </a:r>
          <a:r>
            <a:rPr lang="fr-FR" dirty="0" err="1" smtClean="0"/>
            <a:t>eBOUND</a:t>
          </a:r>
          <a:endParaRPr lang="fr-FR" dirty="0"/>
        </a:p>
      </dgm:t>
    </dgm:pt>
    <dgm:pt modelId="{3EB105D7-879D-4E06-AB36-B222EBB8C8F3}" type="parTrans" cxnId="{E5368990-6BEC-4F35-8A9B-6BEA0903C92F}">
      <dgm:prSet/>
      <dgm:spPr/>
      <dgm:t>
        <a:bodyPr/>
        <a:lstStyle/>
        <a:p>
          <a:endParaRPr lang="fr-FR"/>
        </a:p>
      </dgm:t>
    </dgm:pt>
    <dgm:pt modelId="{9390F2CA-1643-47C5-97E9-D3DA3C792CCC}" type="sibTrans" cxnId="{E5368990-6BEC-4F35-8A9B-6BEA0903C92F}">
      <dgm:prSet/>
      <dgm:spPr/>
      <dgm:t>
        <a:bodyPr/>
        <a:lstStyle/>
        <a:p>
          <a:endParaRPr lang="fr-FR"/>
        </a:p>
      </dgm:t>
    </dgm:pt>
    <dgm:pt modelId="{F160EBAB-2D95-4116-A12F-59E154DE077C}">
      <dgm:prSet phldrT="[Texte]" phldr="1"/>
      <dgm:spPr/>
      <dgm:t>
        <a:bodyPr/>
        <a:lstStyle/>
        <a:p>
          <a:endParaRPr lang="fr-FR"/>
        </a:p>
      </dgm:t>
    </dgm:pt>
    <dgm:pt modelId="{EB4EA6E6-C08F-4231-B6C9-90E5A29E0988}" type="parTrans" cxnId="{A62F2161-CABE-490A-8747-04DD6F3900C2}">
      <dgm:prSet/>
      <dgm:spPr/>
      <dgm:t>
        <a:bodyPr/>
        <a:lstStyle/>
        <a:p>
          <a:endParaRPr lang="fr-FR"/>
        </a:p>
      </dgm:t>
    </dgm:pt>
    <dgm:pt modelId="{C0A0F7CF-0AB2-453B-98B6-59EE6CA48A69}" type="sibTrans" cxnId="{A62F2161-CABE-490A-8747-04DD6F3900C2}">
      <dgm:prSet/>
      <dgm:spPr/>
      <dgm:t>
        <a:bodyPr/>
        <a:lstStyle/>
        <a:p>
          <a:endParaRPr lang="fr-FR"/>
        </a:p>
      </dgm:t>
    </dgm:pt>
    <dgm:pt modelId="{68FCCB7B-BBC2-493A-A8AC-E76AD98D98CB}">
      <dgm:prSet phldrT="[Texte]" phldr="1"/>
      <dgm:spPr/>
      <dgm:t>
        <a:bodyPr/>
        <a:lstStyle/>
        <a:p>
          <a:endParaRPr lang="fr-FR"/>
        </a:p>
      </dgm:t>
    </dgm:pt>
    <dgm:pt modelId="{D27C773B-8C28-4EEF-ACAB-BC2186B0CC84}" type="parTrans" cxnId="{2396E533-9F30-4EE5-883C-5F65BFA038B6}">
      <dgm:prSet/>
      <dgm:spPr/>
      <dgm:t>
        <a:bodyPr/>
        <a:lstStyle/>
        <a:p>
          <a:endParaRPr lang="fr-FR"/>
        </a:p>
      </dgm:t>
    </dgm:pt>
    <dgm:pt modelId="{A567CE18-DDFF-40E3-A89D-B3EF0513930D}" type="sibTrans" cxnId="{2396E533-9F30-4EE5-883C-5F65BFA038B6}">
      <dgm:prSet/>
      <dgm:spPr/>
      <dgm:t>
        <a:bodyPr/>
        <a:lstStyle/>
        <a:p>
          <a:endParaRPr lang="fr-FR"/>
        </a:p>
      </dgm:t>
    </dgm:pt>
    <dgm:pt modelId="{9D608691-FD44-473A-B5BC-59BA7523E2F6}" type="pres">
      <dgm:prSet presAssocID="{67C2BB0C-CD53-4B6D-9118-6BEC4B60920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60545CE-3DA5-4C10-B9D0-C1A9444ACDFB}" type="pres">
      <dgm:prSet presAssocID="{A5D4B35C-E007-4B0D-A61F-28B24B527894}" presName="composite" presStyleCnt="0"/>
      <dgm:spPr/>
    </dgm:pt>
    <dgm:pt modelId="{64D47514-89AF-48BE-8DCF-6052FCC84FE8}" type="pres">
      <dgm:prSet presAssocID="{A5D4B35C-E007-4B0D-A61F-28B24B527894}" presName="parTx" presStyleLbl="alignNode1" presStyleIdx="0" presStyleCnt="2" custScaleX="84557" custScaleY="801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7F3B035-7551-4687-A3D2-609468E6D67C}" type="pres">
      <dgm:prSet presAssocID="{A5D4B35C-E007-4B0D-A61F-28B24B527894}" presName="desTx" presStyleLbl="alignAccFollowNode1" presStyleIdx="0" presStyleCnt="2" custScaleX="8455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DBA56A6-35C1-49A2-B724-FD8D360E8160}" type="pres">
      <dgm:prSet presAssocID="{28577634-A917-44DD-9025-CD5D1C1807F0}" presName="space" presStyleCnt="0"/>
      <dgm:spPr/>
    </dgm:pt>
    <dgm:pt modelId="{0C841A9B-89D6-489A-AB5E-E234904DF991}" type="pres">
      <dgm:prSet presAssocID="{FDA9C281-E528-49F8-B305-84D0033694B1}" presName="composite" presStyleCnt="0"/>
      <dgm:spPr/>
    </dgm:pt>
    <dgm:pt modelId="{36E86EAD-684B-410F-B939-BF9058CE0A75}" type="pres">
      <dgm:prSet presAssocID="{FDA9C281-E528-49F8-B305-84D0033694B1}" presName="parTx" presStyleLbl="alignNode1" presStyleIdx="1" presStyleCnt="2" custScaleX="138950" custScaleY="76893" custLinFactNeighborX="-623" custLinFactNeighborY="24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C1809BD-DF85-4E50-BF77-8B370FB02026}" type="pres">
      <dgm:prSet presAssocID="{FDA9C281-E528-49F8-B305-84D0033694B1}" presName="desTx" presStyleLbl="alignAccFollowNode1" presStyleIdx="1" presStyleCnt="2" custScaleX="120581" custLinFactNeighborX="-6322" custLinFactNeighborY="63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5368990-6BEC-4F35-8A9B-6BEA0903C92F}" srcId="{67C2BB0C-CD53-4B6D-9118-6BEC4B60920F}" destId="{FDA9C281-E528-49F8-B305-84D0033694B1}" srcOrd="1" destOrd="0" parTransId="{3EB105D7-879D-4E06-AB36-B222EBB8C8F3}" sibTransId="{9390F2CA-1643-47C5-97E9-D3DA3C792CCC}"/>
    <dgm:cxn modelId="{12B6B7E5-EDE0-4AF2-8036-21352390E2D9}" type="presOf" srcId="{FDA9C281-E528-49F8-B305-84D0033694B1}" destId="{36E86EAD-684B-410F-B939-BF9058CE0A75}" srcOrd="0" destOrd="0" presId="urn:microsoft.com/office/officeart/2005/8/layout/hList1"/>
    <dgm:cxn modelId="{5C78CA00-536E-4BA4-9617-DF713147E1F7}" type="presOf" srcId="{68FCCB7B-BBC2-493A-A8AC-E76AD98D98CB}" destId="{BC1809BD-DF85-4E50-BF77-8B370FB02026}" srcOrd="0" destOrd="1" presId="urn:microsoft.com/office/officeart/2005/8/layout/hList1"/>
    <dgm:cxn modelId="{2C89126E-5A90-4204-A2D2-99B1FA3E1455}" srcId="{67C2BB0C-CD53-4B6D-9118-6BEC4B60920F}" destId="{A5D4B35C-E007-4B0D-A61F-28B24B527894}" srcOrd="0" destOrd="0" parTransId="{9FB77165-14E8-4E68-B6E5-43D6386C31F9}" sibTransId="{28577634-A917-44DD-9025-CD5D1C1807F0}"/>
    <dgm:cxn modelId="{CA6B20D5-FBAE-4DC9-BE06-089A91CB3A6E}" type="presOf" srcId="{67C2BB0C-CD53-4B6D-9118-6BEC4B60920F}" destId="{9D608691-FD44-473A-B5BC-59BA7523E2F6}" srcOrd="0" destOrd="0" presId="urn:microsoft.com/office/officeart/2005/8/layout/hList1"/>
    <dgm:cxn modelId="{96F82762-65D2-4B61-9ED1-830FAC86C480}" srcId="{A5D4B35C-E007-4B0D-A61F-28B24B527894}" destId="{3392BA11-D137-4AB5-A4BB-80F610C9D679}" srcOrd="0" destOrd="0" parTransId="{03BDB950-D0C4-4CAE-BE18-6014E876A5EE}" sibTransId="{217B3BF2-B3C5-494F-9EFE-196B411ABDDE}"/>
    <dgm:cxn modelId="{A62F2161-CABE-490A-8747-04DD6F3900C2}" srcId="{FDA9C281-E528-49F8-B305-84D0033694B1}" destId="{F160EBAB-2D95-4116-A12F-59E154DE077C}" srcOrd="0" destOrd="0" parTransId="{EB4EA6E6-C08F-4231-B6C9-90E5A29E0988}" sibTransId="{C0A0F7CF-0AB2-453B-98B6-59EE6CA48A69}"/>
    <dgm:cxn modelId="{6BEAE374-C074-4638-849D-E5BFE067AF2D}" srcId="{A5D4B35C-E007-4B0D-A61F-28B24B527894}" destId="{C245FF08-8BFF-4805-9F28-3C7A74363CB6}" srcOrd="1" destOrd="0" parTransId="{833DD922-FDCB-41B4-8CF0-F3FB24E44741}" sibTransId="{3B0350F9-4302-4935-BA50-B52FA347C061}"/>
    <dgm:cxn modelId="{F672B9EE-157C-4FA6-9F35-20032CF24EE7}" type="presOf" srcId="{3392BA11-D137-4AB5-A4BB-80F610C9D679}" destId="{D7F3B035-7551-4687-A3D2-609468E6D67C}" srcOrd="0" destOrd="0" presId="urn:microsoft.com/office/officeart/2005/8/layout/hList1"/>
    <dgm:cxn modelId="{2396E533-9F30-4EE5-883C-5F65BFA038B6}" srcId="{FDA9C281-E528-49F8-B305-84D0033694B1}" destId="{68FCCB7B-BBC2-493A-A8AC-E76AD98D98CB}" srcOrd="1" destOrd="0" parTransId="{D27C773B-8C28-4EEF-ACAB-BC2186B0CC84}" sibTransId="{A567CE18-DDFF-40E3-A89D-B3EF0513930D}"/>
    <dgm:cxn modelId="{ADE0F8B4-5716-4BDC-9866-09E9132C7858}" type="presOf" srcId="{F160EBAB-2D95-4116-A12F-59E154DE077C}" destId="{BC1809BD-DF85-4E50-BF77-8B370FB02026}" srcOrd="0" destOrd="0" presId="urn:microsoft.com/office/officeart/2005/8/layout/hList1"/>
    <dgm:cxn modelId="{B55F1D51-AFDA-4647-AD5F-25BE2DEA5F9E}" type="presOf" srcId="{C245FF08-8BFF-4805-9F28-3C7A74363CB6}" destId="{D7F3B035-7551-4687-A3D2-609468E6D67C}" srcOrd="0" destOrd="1" presId="urn:microsoft.com/office/officeart/2005/8/layout/hList1"/>
    <dgm:cxn modelId="{FD71A3C3-E425-4E8E-A959-01253F1ED031}" type="presOf" srcId="{A5D4B35C-E007-4B0D-A61F-28B24B527894}" destId="{64D47514-89AF-48BE-8DCF-6052FCC84FE8}" srcOrd="0" destOrd="0" presId="urn:microsoft.com/office/officeart/2005/8/layout/hList1"/>
    <dgm:cxn modelId="{935FD817-9716-4346-B196-3E311F814586}" type="presParOf" srcId="{9D608691-FD44-473A-B5BC-59BA7523E2F6}" destId="{760545CE-3DA5-4C10-B9D0-C1A9444ACDFB}" srcOrd="0" destOrd="0" presId="urn:microsoft.com/office/officeart/2005/8/layout/hList1"/>
    <dgm:cxn modelId="{7957D57E-57B2-4CD4-9D21-2118E07E899E}" type="presParOf" srcId="{760545CE-3DA5-4C10-B9D0-C1A9444ACDFB}" destId="{64D47514-89AF-48BE-8DCF-6052FCC84FE8}" srcOrd="0" destOrd="0" presId="urn:microsoft.com/office/officeart/2005/8/layout/hList1"/>
    <dgm:cxn modelId="{1FA5D70B-F63D-44D4-A1A6-9CFB2C3542DB}" type="presParOf" srcId="{760545CE-3DA5-4C10-B9D0-C1A9444ACDFB}" destId="{D7F3B035-7551-4687-A3D2-609468E6D67C}" srcOrd="1" destOrd="0" presId="urn:microsoft.com/office/officeart/2005/8/layout/hList1"/>
    <dgm:cxn modelId="{1C74201C-4410-426E-A46C-E77E0C28B438}" type="presParOf" srcId="{9D608691-FD44-473A-B5BC-59BA7523E2F6}" destId="{5DBA56A6-35C1-49A2-B724-FD8D360E8160}" srcOrd="1" destOrd="0" presId="urn:microsoft.com/office/officeart/2005/8/layout/hList1"/>
    <dgm:cxn modelId="{D86C0486-2DB9-474A-9708-FD8EC4557D26}" type="presParOf" srcId="{9D608691-FD44-473A-B5BC-59BA7523E2F6}" destId="{0C841A9B-89D6-489A-AB5E-E234904DF991}" srcOrd="2" destOrd="0" presId="urn:microsoft.com/office/officeart/2005/8/layout/hList1"/>
    <dgm:cxn modelId="{411A67C0-9EB6-4167-A976-CC83D087D802}" type="presParOf" srcId="{0C841A9B-89D6-489A-AB5E-E234904DF991}" destId="{36E86EAD-684B-410F-B939-BF9058CE0A75}" srcOrd="0" destOrd="0" presId="urn:microsoft.com/office/officeart/2005/8/layout/hList1"/>
    <dgm:cxn modelId="{BC3A15A6-7121-4CB9-BC5E-3EE966189E2F}" type="presParOf" srcId="{0C841A9B-89D6-489A-AB5E-E234904DF991}" destId="{BC1809BD-DF85-4E50-BF77-8B370FB02026}" srcOrd="1" destOrd="0" presId="urn:microsoft.com/office/officeart/2005/8/layout/hList1"/>
  </dgm:cxnLst>
  <dgm:bg/>
  <dgm:whole/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05E5D0A-D00C-4CDF-BA9C-D68BD0594E79}">
      <dsp:nvSpPr>
        <dsp:cNvPr id="0" name=""/>
        <dsp:cNvSpPr/>
      </dsp:nvSpPr>
      <dsp:spPr>
        <a:xfrm>
          <a:off x="62" y="179188"/>
          <a:ext cx="1843798" cy="7375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/>
            <a:t>Collecte</a:t>
          </a:r>
          <a:endParaRPr lang="fr-FR" sz="2000" b="1" kern="1200" dirty="0"/>
        </a:p>
      </dsp:txBody>
      <dsp:txXfrm>
        <a:off x="62" y="179188"/>
        <a:ext cx="1843798" cy="737519"/>
      </dsp:txXfrm>
    </dsp:sp>
    <dsp:sp modelId="{B489280D-ACF2-4B16-A9E5-E84E8A492F42}">
      <dsp:nvSpPr>
        <dsp:cNvPr id="0" name=""/>
        <dsp:cNvSpPr/>
      </dsp:nvSpPr>
      <dsp:spPr>
        <a:xfrm>
          <a:off x="1659481" y="179188"/>
          <a:ext cx="2391167" cy="7375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/>
            <a:t>Analyse</a:t>
          </a:r>
          <a:endParaRPr lang="fr-FR" sz="2000" b="1" kern="1200" dirty="0"/>
        </a:p>
      </dsp:txBody>
      <dsp:txXfrm>
        <a:off x="1659481" y="179188"/>
        <a:ext cx="2391167" cy="737519"/>
      </dsp:txXfrm>
    </dsp:sp>
    <dsp:sp modelId="{DE43637D-B0F8-4CD4-8F9C-0F75BFCC6EA5}">
      <dsp:nvSpPr>
        <dsp:cNvPr id="0" name=""/>
        <dsp:cNvSpPr/>
      </dsp:nvSpPr>
      <dsp:spPr>
        <a:xfrm>
          <a:off x="3866268" y="179188"/>
          <a:ext cx="2755169" cy="7375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 smtClean="0"/>
            <a:t>Visualisation</a:t>
          </a:r>
          <a:endParaRPr lang="fr-FR" sz="2000" b="1" kern="1200" dirty="0"/>
        </a:p>
      </dsp:txBody>
      <dsp:txXfrm>
        <a:off x="3866268" y="179188"/>
        <a:ext cx="2755169" cy="737519"/>
      </dsp:txXfrm>
    </dsp:sp>
    <dsp:sp modelId="{EB10AA21-892A-4AE8-B02A-9318D5AB9B18}">
      <dsp:nvSpPr>
        <dsp:cNvPr id="0" name=""/>
        <dsp:cNvSpPr/>
      </dsp:nvSpPr>
      <dsp:spPr>
        <a:xfrm>
          <a:off x="6437058" y="179188"/>
          <a:ext cx="1843798" cy="7375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Décision</a:t>
          </a:r>
          <a:endParaRPr lang="fr-FR" sz="1800" b="1" kern="1200" dirty="0"/>
        </a:p>
      </dsp:txBody>
      <dsp:txXfrm>
        <a:off x="6437058" y="179188"/>
        <a:ext cx="1843798" cy="7375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CA1EA1-A118-4C33-A1A9-FB03EE835A32}" type="datetimeFigureOut">
              <a:rPr lang="fr-FR" smtClean="0"/>
              <a:pPr/>
              <a:t>21/06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375AA-D64D-4087-A1EC-7E6D50FAF3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4470999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E6227C-E1E3-4743-B790-12AB7D15C9BD}" type="datetimeFigureOut">
              <a:rPr lang="fr-FR" smtClean="0"/>
              <a:pPr/>
              <a:t>21/06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CBCC0D-7C65-4651-A413-44D6554B1B9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959031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E8D62-D41F-6042-BCDF-79D228EFA10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08665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2181178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 second lieux , on  fait face a une gestion difficile des indicateurs de performance et  on dispose d’affichage trop chargés</a:t>
            </a:r>
            <a:r>
              <a:rPr lang="fr-FR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3937161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393716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Notre </a:t>
            </a:r>
            <a:r>
              <a:rPr lang="fr-FR" dirty="0" smtClean="0"/>
              <a:t>présentation </a:t>
            </a:r>
            <a:r>
              <a:rPr lang="fr-FR" dirty="0"/>
              <a:t>suit le plan </a:t>
            </a:r>
            <a:r>
              <a:rPr lang="fr-FR" dirty="0" smtClean="0"/>
              <a:t>suivant</a:t>
            </a:r>
            <a:r>
              <a:rPr lang="fr-FR" baseline="0" dirty="0" smtClean="0"/>
              <a:t> </a:t>
            </a:r>
            <a:endParaRPr lang="fr-FR" baseline="0" dirty="0"/>
          </a:p>
          <a:p>
            <a:r>
              <a:rPr lang="fr-FR" baseline="0" dirty="0"/>
              <a:t>Nous </a:t>
            </a:r>
            <a:r>
              <a:rPr lang="fr-FR" baseline="0" dirty="0" smtClean="0"/>
              <a:t>commençons </a:t>
            </a:r>
            <a:r>
              <a:rPr lang="fr-FR" baseline="0" dirty="0"/>
              <a:t>par </a:t>
            </a:r>
            <a:r>
              <a:rPr lang="fr-FR" baseline="0" dirty="0" smtClean="0"/>
              <a:t>une petite introduction</a:t>
            </a:r>
            <a:endParaRPr lang="fr-FR" baseline="0" dirty="0"/>
          </a:p>
          <a:p>
            <a:r>
              <a:rPr lang="fr-FR" baseline="0" dirty="0"/>
              <a:t>Ensuite nous </a:t>
            </a:r>
            <a:r>
              <a:rPr lang="fr-FR" baseline="0" dirty="0" smtClean="0"/>
              <a:t>présentons le projet  </a:t>
            </a:r>
            <a:r>
              <a:rPr lang="fr-FR" baseline="0" dirty="0"/>
              <a:t>!</a:t>
            </a:r>
          </a:p>
          <a:p>
            <a:r>
              <a:rPr lang="fr-FR" baseline="0" dirty="0"/>
              <a:t>Après nous passons </a:t>
            </a:r>
            <a:r>
              <a:rPr lang="fr-FR" baseline="0" dirty="0" smtClean="0"/>
              <a:t>à l’analyse </a:t>
            </a:r>
            <a:r>
              <a:rPr lang="fr-FR" baseline="0" dirty="0"/>
              <a:t>et la </a:t>
            </a:r>
            <a:r>
              <a:rPr lang="fr-FR" baseline="0" dirty="0" smtClean="0"/>
              <a:t>spécification </a:t>
            </a:r>
            <a:r>
              <a:rPr lang="fr-FR" baseline="0" dirty="0"/>
              <a:t>des </a:t>
            </a:r>
            <a:r>
              <a:rPr lang="fr-FR" baseline="0" dirty="0" smtClean="0"/>
              <a:t>besoins , puis l’architecture et la </a:t>
            </a:r>
            <a:r>
              <a:rPr lang="fr-FR" baseline="0" dirty="0"/>
              <a:t>conception pour aboutir a la </a:t>
            </a:r>
            <a:r>
              <a:rPr lang="fr-FR" baseline="0" dirty="0" smtClean="0"/>
              <a:t>réalisation </a:t>
            </a:r>
            <a:endParaRPr lang="fr-FR" baseline="0" dirty="0"/>
          </a:p>
          <a:p>
            <a:r>
              <a:rPr lang="fr-FR" baseline="0" dirty="0"/>
              <a:t>Et enfin nous terminons par </a:t>
            </a:r>
            <a:r>
              <a:rPr lang="fr-FR" baseline="0" dirty="0" smtClean="0"/>
              <a:t>la </a:t>
            </a:r>
            <a:r>
              <a:rPr lang="fr-FR" baseline="0" dirty="0"/>
              <a:t>conclusion et </a:t>
            </a:r>
            <a:r>
              <a:rPr lang="fr-FR" baseline="0" dirty="0" smtClean="0"/>
              <a:t>les  </a:t>
            </a:r>
            <a:r>
              <a:rPr lang="fr-FR" baseline="0" dirty="0"/>
              <a:t>perspectives.</a:t>
            </a:r>
            <a:endParaRPr lang="fr-FR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BE" dirty="0" smtClean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4E8D62-D41F-6042-BCDF-79D228EFA10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561504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0</a:t>
            </a:fld>
            <a:endParaRPr lang="fr-FR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aseline="0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1347621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1347621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1347621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1347621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134762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66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aseline="0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3907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Toute</a:t>
            </a:r>
            <a:r>
              <a:rPr lang="fr-FR" baseline="0" dirty="0" smtClean="0"/>
              <a:t> au long de cette présentation, on va se baser sur une étude de cas a travers laquelle on applique les notations B avec ses </a:t>
            </a:r>
            <a:r>
              <a:rPr lang="fr-FR" baseline="0" dirty="0" err="1" smtClean="0"/>
              <a:t>modeles</a:t>
            </a:r>
            <a:r>
              <a:rPr lang="fr-FR" baseline="0" dirty="0" smtClean="0"/>
              <a:t> et les contextes. On a opté pour cette démarche, puisque </a:t>
            </a:r>
            <a:r>
              <a:rPr lang="fr-FR" baseline="0" dirty="0" err="1" smtClean="0"/>
              <a:t>event</a:t>
            </a:r>
            <a:r>
              <a:rPr lang="fr-FR" baseline="0" dirty="0" smtClean="0"/>
              <a:t> B (soit dans sa version probabiliste ou sa version standard) est un formalisme riche en symbole et en notation..et </a:t>
            </a:r>
            <a:r>
              <a:rPr lang="fr-FR" baseline="0" dirty="0" err="1" smtClean="0"/>
              <a:t>evidement</a:t>
            </a:r>
            <a:r>
              <a:rPr lang="fr-FR" baseline="0" dirty="0" smtClean="0"/>
              <a:t> les voir sur un exemple est toujours </a:t>
            </a:r>
            <a:r>
              <a:rPr lang="fr-FR" baseline="0" dirty="0" err="1" smtClean="0"/>
              <a:t>concretise</a:t>
            </a:r>
            <a:r>
              <a:rPr lang="fr-FR" baseline="0" dirty="0" smtClean="0"/>
              <a:t> un </a:t>
            </a:r>
            <a:r>
              <a:rPr lang="fr-FR" baseline="0" dirty="0" err="1" smtClean="0"/>
              <a:t>minimun</a:t>
            </a:r>
            <a:r>
              <a:rPr lang="fr-FR" baseline="0" dirty="0" smtClean="0"/>
              <a:t>  cette méthode formelle. Donc, comme on va se serer de base de cette étude de cas , commençons par présenter ses grandes </a:t>
            </a:r>
            <a:r>
              <a:rPr lang="fr-FR" baseline="0" dirty="0" err="1" smtClean="0"/>
              <a:t>lignesOn</a:t>
            </a:r>
            <a:r>
              <a:rPr lang="fr-FR" baseline="0" dirty="0" smtClean="0"/>
              <a:t> commence par décrire les grandes ligne de cette étude de cas </a:t>
            </a: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5</a:t>
            </a:fld>
            <a:endParaRPr lang="fr-F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CBCC0D-7C65-4651-A413-44D6554B1B97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4001792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81275" y="1639888"/>
            <a:ext cx="6081713" cy="909637"/>
          </a:xfrm>
        </p:spPr>
        <p:txBody>
          <a:bodyPr lIns="91440" rIns="91440"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81275" y="2547938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>
            <a:extLst>
              <a:ext uri="{BEBA8EAE-BF5A-486C-A8C5-ECC9F3942E4B}">
                <a14:imgProps xmlns:a14="http://schemas.microsoft.com/office/drawing/2010/main" xmlns="">
                  <a14:imgLayer r:embed="rId15"/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  <a:endParaRPr lang="de-DE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de-DE" smtClean="0"/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  <a:latin typeface="Arial" charset="0"/>
                <a:cs typeface="+mn-cs"/>
              </a:defRPr>
            </a:lvl1pPr>
          </a:lstStyle>
          <a:p>
            <a:endParaRPr lang="fr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2pPr>
      <a:lvl3pPr marL="561975" indent="-17938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3pPr>
      <a:lvl4pPr marL="752475" indent="-18891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4pPr>
      <a:lvl5pPr marL="962025" indent="-20796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419225" indent="-20796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6.xm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7.xm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diagramData" Target="../diagrams/data9.xm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4"/>
          <p:cNvSpPr>
            <a:spLocks noChangeShapeType="1"/>
          </p:cNvSpPr>
          <p:nvPr/>
        </p:nvSpPr>
        <p:spPr bwMode="auto">
          <a:xfrm>
            <a:off x="1907704" y="1556792"/>
            <a:ext cx="4935740" cy="0"/>
          </a:xfrm>
          <a:prstGeom prst="line">
            <a:avLst/>
          </a:prstGeom>
          <a:ln w="76200">
            <a:solidFill>
              <a:schemeClr val="accent1"/>
            </a:solidFill>
            <a:headEnd/>
            <a:tailEnd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  <p:txBody>
          <a:bodyPr lIns="38396" tIns="19198" rIns="38396" bIns="19198"/>
          <a:lstStyle/>
          <a:p>
            <a:endParaRPr lang="fr-FR" dirty="0"/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2571736" y="1000108"/>
            <a:ext cx="3643338" cy="428628"/>
          </a:xfrm>
          <a:prstGeom prst="rect">
            <a:avLst/>
          </a:prstGeom>
        </p:spPr>
        <p:txBody>
          <a:bodyPr vert="horz" lIns="91324" tIns="45662" rIns="91324" bIns="45662" rtlCol="0">
            <a:norm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0" algn="l"/>
                <a:tab pos="187979" algn="l"/>
                <a:tab pos="376624" algn="l"/>
                <a:tab pos="565269" algn="l"/>
                <a:tab pos="753915" algn="l"/>
                <a:tab pos="942560" algn="l"/>
                <a:tab pos="1131206" algn="l"/>
                <a:tab pos="1319851" algn="l"/>
                <a:tab pos="1508496" algn="l"/>
                <a:tab pos="1697141" algn="l"/>
                <a:tab pos="1885787" algn="l"/>
                <a:tab pos="2074432" algn="l"/>
                <a:tab pos="2263078" algn="l"/>
                <a:tab pos="2451723" algn="l"/>
                <a:tab pos="2640368" algn="l"/>
                <a:tab pos="2829013" algn="l"/>
                <a:tab pos="3017659" algn="l"/>
                <a:tab pos="3206304" algn="l"/>
                <a:tab pos="3394949" algn="l"/>
                <a:tab pos="3583595" algn="l"/>
                <a:tab pos="3772240" algn="l"/>
              </a:tabLst>
            </a:pPr>
            <a:r>
              <a:rPr lang="fr-FR" sz="1500" dirty="0" smtClean="0">
                <a:solidFill>
                  <a:schemeClr val="tx1"/>
                </a:solidFill>
              </a:rPr>
              <a:t>Stage de master de recherche</a:t>
            </a:r>
            <a:endParaRPr lang="fr-FR" sz="1500" b="1" dirty="0">
              <a:solidFill>
                <a:schemeClr val="tx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sz="quarter"/>
          </p:nvPr>
        </p:nvSpPr>
        <p:spPr>
          <a:xfrm>
            <a:off x="431032" y="2714620"/>
            <a:ext cx="8712968" cy="1413693"/>
          </a:xfrm>
        </p:spPr>
        <p:txBody>
          <a:bodyPr/>
          <a:lstStyle/>
          <a:p>
            <a:pPr algn="ctr"/>
            <a:r>
              <a:rPr lang="en-US" sz="8800" b="1" dirty="0" smtClean="0">
                <a:solidFill>
                  <a:schemeClr val="tx1"/>
                </a:solidFill>
              </a:rPr>
              <a:t/>
            </a:r>
            <a:br>
              <a:rPr lang="en-US" sz="8800" b="1" dirty="0" smtClean="0">
                <a:solidFill>
                  <a:schemeClr val="tx1"/>
                </a:solidFill>
              </a:rPr>
            </a:br>
            <a:r>
              <a:rPr lang="en-US" sz="3200" b="1" dirty="0" smtClean="0">
                <a:solidFill>
                  <a:schemeClr val="tx1"/>
                </a:solidFill>
                <a:latin typeface="Open Sans Light"/>
                <a:ea typeface="+mn-ea"/>
              </a:rPr>
              <a:t>Limiter </a:t>
            </a:r>
            <a:r>
              <a:rPr lang="en-US" sz="3200" b="1" dirty="0" err="1" smtClean="0">
                <a:solidFill>
                  <a:schemeClr val="tx1"/>
                </a:solidFill>
                <a:latin typeface="Open Sans Light"/>
                <a:ea typeface="+mn-ea"/>
              </a:rPr>
              <a:t>l’</a:t>
            </a:r>
            <a:r>
              <a:rPr lang="en-US" sz="3200" dirty="0" err="1" smtClean="0">
                <a:solidFill>
                  <a:schemeClr val="tx1"/>
                </a:solidFill>
                <a:latin typeface="Open Sans Light"/>
                <a:ea typeface="+mn-ea"/>
                <a:cs typeface="Open Sans Light"/>
              </a:rPr>
              <a:t>activation</a:t>
            </a:r>
            <a:r>
              <a:rPr lang="en-US" sz="3200" dirty="0" smtClean="0">
                <a:solidFill>
                  <a:schemeClr val="tx1"/>
                </a:solidFill>
                <a:latin typeface="Open Sans Light"/>
                <a:ea typeface="+mn-ea"/>
                <a:cs typeface="Open Sans Light"/>
              </a:rPr>
              <a:t> d’un </a:t>
            </a:r>
            <a:r>
              <a:rPr lang="en-US" sz="3200" dirty="0" err="1" smtClean="0">
                <a:solidFill>
                  <a:schemeClr val="tx1"/>
                </a:solidFill>
                <a:latin typeface="Open Sans Light"/>
                <a:ea typeface="+mn-ea"/>
                <a:cs typeface="Open Sans Light"/>
              </a:rPr>
              <a:t>événement</a:t>
            </a:r>
            <a:r>
              <a:rPr lang="en-US" sz="3200" dirty="0" smtClean="0">
                <a:solidFill>
                  <a:schemeClr val="tx1"/>
                </a:solidFill>
                <a:latin typeface="Open Sans Light"/>
                <a:ea typeface="+mn-ea"/>
                <a:cs typeface="Open Sans Light"/>
              </a:rPr>
              <a:t> en Event-B </a:t>
            </a:r>
            <a:r>
              <a:rPr lang="en-US" sz="3200" dirty="0" err="1" smtClean="0">
                <a:solidFill>
                  <a:schemeClr val="tx1"/>
                </a:solidFill>
                <a:latin typeface="Open Sans Light"/>
                <a:ea typeface="+mn-ea"/>
                <a:cs typeface="Open Sans Light"/>
              </a:rPr>
              <a:t>probabiliste</a:t>
            </a:r>
            <a:endParaRPr lang="en-US" sz="3200" dirty="0">
              <a:solidFill>
                <a:schemeClr val="tx1"/>
              </a:solidFill>
              <a:latin typeface="Open Sans Light"/>
              <a:ea typeface="+mn-ea"/>
              <a:cs typeface="Open Sans Light"/>
            </a:endParaRPr>
          </a:p>
        </p:txBody>
      </p:sp>
      <p:pic>
        <p:nvPicPr>
          <p:cNvPr id="77826" name="Picture 2" descr="RÃ©sultat de recherche d'images pour &quot;LS2N&quot;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572264" y="214290"/>
            <a:ext cx="2143140" cy="1195416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 bwMode="auto">
          <a:xfrm>
            <a:off x="214282" y="285728"/>
            <a:ext cx="2214578" cy="114300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44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charset="0"/>
              </a:rPr>
              <a:t>AELOS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1785918" y="6286520"/>
            <a:ext cx="5256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     Année universitaire:  2017-2018</a:t>
            </a:r>
            <a:endParaRPr lang="fr-FR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23528" y="5085184"/>
            <a:ext cx="6400800" cy="1007363"/>
          </a:xfrm>
        </p:spPr>
        <p:txBody>
          <a:bodyPr>
            <a:noAutofit/>
          </a:bodyPr>
          <a:lstStyle/>
          <a:p>
            <a:pPr>
              <a:tabLst>
                <a:tab pos="0" algn="l"/>
                <a:tab pos="187979" algn="l"/>
                <a:tab pos="376624" algn="l"/>
                <a:tab pos="565269" algn="l"/>
                <a:tab pos="753915" algn="l"/>
                <a:tab pos="942560" algn="l"/>
                <a:tab pos="1131206" algn="l"/>
                <a:tab pos="1319851" algn="l"/>
                <a:tab pos="1508496" algn="l"/>
                <a:tab pos="1697141" algn="l"/>
                <a:tab pos="1885787" algn="l"/>
                <a:tab pos="2074432" algn="l"/>
                <a:tab pos="2263078" algn="l"/>
                <a:tab pos="2451723" algn="l"/>
                <a:tab pos="2640368" algn="l"/>
                <a:tab pos="2829013" algn="l"/>
                <a:tab pos="3017659" algn="l"/>
                <a:tab pos="3206304" algn="l"/>
                <a:tab pos="3394949" algn="l"/>
                <a:tab pos="3583595" algn="l"/>
                <a:tab pos="3772240" algn="l"/>
              </a:tabLst>
            </a:pPr>
            <a:endParaRPr lang="fr-FR" sz="1200" dirty="0">
              <a:solidFill>
                <a:schemeClr val="tx1"/>
              </a:solidFill>
              <a:latin typeface="Open Sans"/>
              <a:ea typeface="Droid Sans Fallback" charset="0"/>
              <a:cs typeface="Droid Sans Fallback" charset="0"/>
            </a:endParaRPr>
          </a:p>
          <a:p>
            <a:pPr>
              <a:tabLst>
                <a:tab pos="0" algn="l"/>
                <a:tab pos="187979" algn="l"/>
                <a:tab pos="376624" algn="l"/>
                <a:tab pos="565269" algn="l"/>
                <a:tab pos="753915" algn="l"/>
                <a:tab pos="942560" algn="l"/>
                <a:tab pos="1131206" algn="l"/>
                <a:tab pos="1319851" algn="l"/>
                <a:tab pos="1508496" algn="l"/>
                <a:tab pos="1697141" algn="l"/>
                <a:tab pos="1885787" algn="l"/>
                <a:tab pos="2074432" algn="l"/>
                <a:tab pos="2263078" algn="l"/>
                <a:tab pos="2451723" algn="l"/>
                <a:tab pos="2640368" algn="l"/>
                <a:tab pos="2829013" algn="l"/>
                <a:tab pos="3017659" algn="l"/>
                <a:tab pos="3206304" algn="l"/>
                <a:tab pos="3394949" algn="l"/>
                <a:tab pos="3583595" algn="l"/>
                <a:tab pos="3772240" algn="l"/>
              </a:tabLst>
            </a:pPr>
            <a:r>
              <a:rPr lang="fr-FR" sz="1600" dirty="0">
                <a:solidFill>
                  <a:schemeClr val="tx1"/>
                </a:solidFill>
                <a:latin typeface="Open Sans"/>
                <a:ea typeface="Droid Sans Fallback" charset="0"/>
                <a:cs typeface="Droid Sans Fallback" charset="0"/>
              </a:rPr>
              <a:t>Encadré par : </a:t>
            </a:r>
            <a:r>
              <a:rPr lang="fr-FR" sz="1600" dirty="0" smtClean="0">
                <a:solidFill>
                  <a:schemeClr val="tx1"/>
                </a:solidFill>
                <a:latin typeface="Open Sans"/>
                <a:ea typeface="Droid Sans Fallback" charset="0"/>
                <a:cs typeface="Droid Sans Fallback" charset="0"/>
              </a:rPr>
              <a:t>Arnaud LANOIX</a:t>
            </a:r>
            <a:endParaRPr lang="fr-FR" sz="1600" dirty="0">
              <a:solidFill>
                <a:schemeClr val="tx1"/>
              </a:solidFill>
              <a:latin typeface="Open Sans"/>
              <a:ea typeface="Droid Sans Fallback" charset="0"/>
              <a:cs typeface="Droid Sans Fallback" charset="0"/>
            </a:endParaRPr>
          </a:p>
          <a:p>
            <a:pPr>
              <a:tabLst>
                <a:tab pos="0" algn="l"/>
                <a:tab pos="187979" algn="l"/>
                <a:tab pos="376624" algn="l"/>
                <a:tab pos="565269" algn="l"/>
                <a:tab pos="753915" algn="l"/>
                <a:tab pos="942560" algn="l"/>
                <a:tab pos="1131206" algn="l"/>
                <a:tab pos="1319851" algn="l"/>
                <a:tab pos="1508496" algn="l"/>
                <a:tab pos="1697141" algn="l"/>
                <a:tab pos="1885787" algn="l"/>
                <a:tab pos="2074432" algn="l"/>
                <a:tab pos="2263078" algn="l"/>
                <a:tab pos="2451723" algn="l"/>
                <a:tab pos="2640368" algn="l"/>
                <a:tab pos="2829013" algn="l"/>
                <a:tab pos="3017659" algn="l"/>
                <a:tab pos="3206304" algn="l"/>
                <a:tab pos="3394949" algn="l"/>
                <a:tab pos="3583595" algn="l"/>
                <a:tab pos="3772240" algn="l"/>
              </a:tabLst>
            </a:pPr>
            <a:r>
              <a:rPr lang="fr-FR" sz="1600" dirty="0" smtClean="0">
                <a:solidFill>
                  <a:schemeClr val="tx1"/>
                </a:solidFill>
                <a:latin typeface="Open Sans"/>
                <a:ea typeface="Droid Sans Fallback" charset="0"/>
                <a:cs typeface="Droid Sans Fallback" charset="0"/>
              </a:rPr>
              <a:t>Réalisé par : </a:t>
            </a:r>
            <a:r>
              <a:rPr lang="fr-FR" sz="1600" dirty="0" err="1" smtClean="0">
                <a:solidFill>
                  <a:schemeClr val="tx1"/>
                </a:solidFill>
                <a:latin typeface="Open Sans"/>
                <a:ea typeface="Droid Sans Fallback" charset="0"/>
                <a:cs typeface="Droid Sans Fallback" charset="0"/>
              </a:rPr>
              <a:t>Syrine</a:t>
            </a:r>
            <a:r>
              <a:rPr lang="fr-FR" sz="1600" dirty="0" smtClean="0">
                <a:solidFill>
                  <a:schemeClr val="tx1"/>
                </a:solidFill>
                <a:latin typeface="Open Sans"/>
                <a:ea typeface="Droid Sans Fallback" charset="0"/>
                <a:cs typeface="Droid Sans Fallback" charset="0"/>
              </a:rPr>
              <a:t> AOUADI</a:t>
            </a:r>
            <a:endParaRPr lang="fr-FR" sz="1600" dirty="0">
              <a:solidFill>
                <a:schemeClr val="tx1"/>
              </a:solidFill>
              <a:latin typeface="Open Sans"/>
              <a:ea typeface="Droid Sans Fallback" charset="0"/>
              <a:cs typeface="Droid Sans Fallback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7722734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EEEEEE"/>
            </a:gs>
            <a:gs pos="64166">
              <a:srgbClr val="E8EFF4"/>
            </a:gs>
            <a:gs pos="83000">
              <a:srgbClr val="DBE4E5"/>
            </a:gs>
            <a:gs pos="78320">
              <a:schemeClr val="accent6">
                <a:lumMod val="20000"/>
                <a:lumOff val="8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pied de page 32"/>
          <p:cNvSpPr txBox="1">
            <a:spLocks/>
          </p:cNvSpPr>
          <p:nvPr/>
        </p:nvSpPr>
        <p:spPr bwMode="auto">
          <a:xfrm>
            <a:off x="6365502" y="6497723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0</a:t>
            </a:fld>
            <a:endParaRPr lang="fr-BE" dirty="0"/>
          </a:p>
        </p:txBody>
      </p:sp>
      <p:graphicFrame>
        <p:nvGraphicFramePr>
          <p:cNvPr id="25" name="Diagramme 24"/>
          <p:cNvGraphicFramePr/>
          <p:nvPr/>
        </p:nvGraphicFramePr>
        <p:xfrm>
          <a:off x="285720" y="1785926"/>
          <a:ext cx="8072494" cy="4143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8" name="Subtitle 2"/>
          <p:cNvSpPr txBox="1">
            <a:spLocks/>
          </p:cNvSpPr>
          <p:nvPr/>
        </p:nvSpPr>
        <p:spPr>
          <a:xfrm>
            <a:off x="357158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Cohérence d’un modèle en Event-B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857620" y="142873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grpSp>
        <p:nvGrpSpPr>
          <p:cNvPr id="23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4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7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30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Event-B</a:t>
              </a:r>
            </a:p>
          </p:txBody>
        </p:sp>
        <p:grpSp>
          <p:nvGrpSpPr>
            <p:cNvPr id="31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4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6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9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0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1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2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5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32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3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98761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1</a:t>
            </a:fld>
            <a:endParaRPr lang="fr-BE" dirty="0"/>
          </a:p>
        </p:txBody>
      </p:sp>
      <p:graphicFrame>
        <p:nvGraphicFramePr>
          <p:cNvPr id="41" name="Diagramme 40"/>
          <p:cNvGraphicFramePr/>
          <p:nvPr/>
        </p:nvGraphicFramePr>
        <p:xfrm>
          <a:off x="1285852" y="2285992"/>
          <a:ext cx="673894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8" name="Subtitle 2"/>
          <p:cNvSpPr txBox="1">
            <a:spLocks/>
          </p:cNvSpPr>
          <p:nvPr/>
        </p:nvSpPr>
        <p:spPr>
          <a:xfrm>
            <a:off x="357158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Event-B purement probabiliste</a:t>
            </a:r>
            <a:endParaRPr lang="fr-FR" sz="2000" b="1" dirty="0"/>
          </a:p>
        </p:txBody>
      </p:sp>
      <p:sp>
        <p:nvSpPr>
          <p:cNvPr id="39" name="Rectangle 38"/>
          <p:cNvSpPr/>
          <p:nvPr/>
        </p:nvSpPr>
        <p:spPr>
          <a:xfrm>
            <a:off x="4000496" y="142873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grpSp>
        <p:nvGrpSpPr>
          <p:cNvPr id="58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59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60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61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62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65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67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9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0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1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2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3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66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3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4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1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8488C4"/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2</a:t>
            </a:fld>
            <a:endParaRPr lang="fr-BE" dirty="0"/>
          </a:p>
        </p:txBody>
      </p:sp>
      <p:graphicFrame>
        <p:nvGraphicFramePr>
          <p:cNvPr id="26" name="Diagramme 25"/>
          <p:cNvGraphicFramePr/>
          <p:nvPr/>
        </p:nvGraphicFramePr>
        <p:xfrm>
          <a:off x="571472" y="1571612"/>
          <a:ext cx="7500990" cy="3889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1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2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9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38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39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42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44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7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8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9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0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1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43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0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1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52" name="Subtitle 2"/>
          <p:cNvSpPr txBox="1">
            <a:spLocks/>
          </p:cNvSpPr>
          <p:nvPr/>
        </p:nvSpPr>
        <p:spPr>
          <a:xfrm>
            <a:off x="357158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Event-B purement probabiliste</a:t>
            </a:r>
            <a:endParaRPr lang="fr-FR" sz="2000" b="1" dirty="0"/>
          </a:p>
        </p:txBody>
      </p:sp>
      <p:sp>
        <p:nvSpPr>
          <p:cNvPr id="53" name="Rectangle 52"/>
          <p:cNvSpPr/>
          <p:nvPr/>
        </p:nvSpPr>
        <p:spPr>
          <a:xfrm>
            <a:off x="4000496" y="142873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57554" y="5857892"/>
            <a:ext cx="3000396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429388" y="5857892"/>
            <a:ext cx="2428892" cy="375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7" name="Connecteur droit avec flèche 26"/>
          <p:cNvCxnSpPr>
            <a:endCxn id="23" idx="0"/>
          </p:cNvCxnSpPr>
          <p:nvPr/>
        </p:nvCxnSpPr>
        <p:spPr bwMode="auto">
          <a:xfrm rot="5400000">
            <a:off x="4643438" y="5072074"/>
            <a:ext cx="1000132" cy="57150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Connecteur droit avec flèche 30"/>
          <p:cNvCxnSpPr>
            <a:endCxn id="24" idx="0"/>
          </p:cNvCxnSpPr>
          <p:nvPr/>
        </p:nvCxnSpPr>
        <p:spPr bwMode="auto">
          <a:xfrm rot="16200000" flipH="1">
            <a:off x="7072330" y="5286388"/>
            <a:ext cx="1000132" cy="14287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3</a:t>
            </a:fld>
            <a:endParaRPr lang="fr-BE" dirty="0"/>
          </a:p>
        </p:txBody>
      </p:sp>
      <p:sp>
        <p:nvSpPr>
          <p:cNvPr id="42" name="ZoneTexte 41"/>
          <p:cNvSpPr txBox="1"/>
          <p:nvPr/>
        </p:nvSpPr>
        <p:spPr>
          <a:xfrm>
            <a:off x="0" y="3357562"/>
            <a:ext cx="1500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Choix</a:t>
            </a:r>
          </a:p>
          <a:p>
            <a:r>
              <a:rPr lang="fr-FR" dirty="0" smtClean="0"/>
              <a:t>des </a:t>
            </a:r>
          </a:p>
          <a:p>
            <a:r>
              <a:rPr lang="fr-FR" dirty="0" smtClean="0"/>
              <a:t>événements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7143768" y="3714752"/>
            <a:ext cx="15001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Choix</a:t>
            </a:r>
          </a:p>
          <a:p>
            <a:r>
              <a:rPr lang="fr-FR" dirty="0" smtClean="0"/>
              <a:t>des </a:t>
            </a:r>
          </a:p>
          <a:p>
            <a:r>
              <a:rPr lang="fr-FR" dirty="0" smtClean="0"/>
              <a:t>paramètres</a:t>
            </a:r>
          </a:p>
        </p:txBody>
      </p:sp>
      <p:grpSp>
        <p:nvGrpSpPr>
          <p:cNvPr id="26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9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39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1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43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49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51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2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3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4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5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6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7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50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5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3108" y="862013"/>
            <a:ext cx="3868682" cy="599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44" name="Connecteur droit avec flèche 43"/>
          <p:cNvCxnSpPr/>
          <p:nvPr/>
        </p:nvCxnSpPr>
        <p:spPr bwMode="auto">
          <a:xfrm rot="10800000" flipV="1">
            <a:off x="3286116" y="4572008"/>
            <a:ext cx="3786214" cy="28575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Connecteur droit avec flèche 39"/>
          <p:cNvCxnSpPr/>
          <p:nvPr/>
        </p:nvCxnSpPr>
        <p:spPr bwMode="auto">
          <a:xfrm rot="10800000">
            <a:off x="1357290" y="4000504"/>
            <a:ext cx="1000132" cy="42862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8" name="Connecteur droit avec flèche 37"/>
          <p:cNvCxnSpPr/>
          <p:nvPr/>
        </p:nvCxnSpPr>
        <p:spPr bwMode="auto">
          <a:xfrm rot="10800000" flipV="1">
            <a:off x="1285852" y="2643182"/>
            <a:ext cx="1000132" cy="71438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4</a:t>
            </a:fld>
            <a:endParaRPr lang="fr-BE" dirty="0"/>
          </a:p>
        </p:txBody>
      </p:sp>
      <p:graphicFrame>
        <p:nvGraphicFramePr>
          <p:cNvPr id="29" name="Diagramme 28"/>
          <p:cNvGraphicFramePr/>
          <p:nvPr/>
        </p:nvGraphicFramePr>
        <p:xfrm>
          <a:off x="500034" y="1214422"/>
          <a:ext cx="7500990" cy="3071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9" name="Rectangle à coins arrondis 38"/>
          <p:cNvSpPr/>
          <p:nvPr/>
        </p:nvSpPr>
        <p:spPr bwMode="auto">
          <a:xfrm>
            <a:off x="571472" y="4857760"/>
            <a:ext cx="1928826" cy="1214446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 smtClean="0"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Annotation des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 événements par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des poid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Rectangle à coins arrondis 42"/>
          <p:cNvSpPr/>
          <p:nvPr/>
        </p:nvSpPr>
        <p:spPr bwMode="auto">
          <a:xfrm>
            <a:off x="2786050" y="4857760"/>
            <a:ext cx="1571636" cy="714380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 smtClean="0"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Choix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uniform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Rectangle à coins arrondis 43"/>
          <p:cNvSpPr/>
          <p:nvPr/>
        </p:nvSpPr>
        <p:spPr bwMode="auto">
          <a:xfrm>
            <a:off x="6643702" y="4786322"/>
            <a:ext cx="1571636" cy="714380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 smtClean="0"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Choix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uniform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Rectangle à coins arrondis 44"/>
          <p:cNvSpPr/>
          <p:nvPr/>
        </p:nvSpPr>
        <p:spPr bwMode="auto">
          <a:xfrm>
            <a:off x="4572000" y="4786322"/>
            <a:ext cx="1928826" cy="1214446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dirty="0" smtClean="0"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Annotation des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 expressions par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des valeurs de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probabilités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Flèche vers le bas 46"/>
          <p:cNvSpPr/>
          <p:nvPr/>
        </p:nvSpPr>
        <p:spPr bwMode="auto">
          <a:xfrm>
            <a:off x="1285852" y="4000504"/>
            <a:ext cx="357190" cy="714380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Flèche vers le bas 47"/>
          <p:cNvSpPr/>
          <p:nvPr/>
        </p:nvSpPr>
        <p:spPr bwMode="auto">
          <a:xfrm>
            <a:off x="7072330" y="4000504"/>
            <a:ext cx="357190" cy="714380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Flèche vers le bas 48"/>
          <p:cNvSpPr/>
          <p:nvPr/>
        </p:nvSpPr>
        <p:spPr bwMode="auto">
          <a:xfrm>
            <a:off x="5214942" y="3929066"/>
            <a:ext cx="357190" cy="714380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Flèche vers le bas 49"/>
          <p:cNvSpPr/>
          <p:nvPr/>
        </p:nvSpPr>
        <p:spPr bwMode="auto">
          <a:xfrm>
            <a:off x="3428992" y="4000504"/>
            <a:ext cx="357190" cy="714380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8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40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41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2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51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54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56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7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8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9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0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1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2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55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2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732074" y="6110302"/>
            <a:ext cx="1885950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28794" y="6353175"/>
            <a:ext cx="443865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32" name="Connecteur droit avec flèche 31"/>
          <p:cNvCxnSpPr>
            <a:stCxn id="44" idx="2"/>
            <a:endCxn id="1026" idx="0"/>
          </p:cNvCxnSpPr>
          <p:nvPr/>
        </p:nvCxnSpPr>
        <p:spPr bwMode="auto">
          <a:xfrm rot="16200000" flipH="1">
            <a:off x="7247484" y="5682737"/>
            <a:ext cx="609600" cy="24552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Connecteur droit avec flèche 33"/>
          <p:cNvCxnSpPr>
            <a:stCxn id="45" idx="2"/>
          </p:cNvCxnSpPr>
          <p:nvPr/>
        </p:nvCxnSpPr>
        <p:spPr bwMode="auto">
          <a:xfrm rot="5400000">
            <a:off x="4732736" y="5554281"/>
            <a:ext cx="357190" cy="125016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5</a:t>
            </a:fld>
            <a:endParaRPr lang="fr-BE" dirty="0"/>
          </a:p>
        </p:txBody>
      </p:sp>
      <p:graphicFrame>
        <p:nvGraphicFramePr>
          <p:cNvPr id="38" name="Tableau 37"/>
          <p:cNvGraphicFramePr>
            <a:graphicFrameLocks noGrp="1"/>
          </p:cNvGraphicFramePr>
          <p:nvPr/>
        </p:nvGraphicFramePr>
        <p:xfrm>
          <a:off x="142844" y="1142983"/>
          <a:ext cx="8858313" cy="52149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8023"/>
                <a:gridCol w="3331265"/>
                <a:gridCol w="3429025"/>
              </a:tblGrid>
              <a:tr h="1094286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Source de </a:t>
                      </a:r>
                    </a:p>
                    <a:p>
                      <a:pPr algn="ctr"/>
                      <a:r>
                        <a:rPr lang="fr-FR" dirty="0" smtClean="0"/>
                        <a:t>non-</a:t>
                      </a:r>
                      <a:r>
                        <a:rPr lang="fr-FR" dirty="0" err="1" smtClean="0"/>
                        <a:t>determinsm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Notation en Event-B</a:t>
                      </a:r>
                      <a:r>
                        <a:rPr lang="fr-FR" baseline="0" dirty="0" smtClean="0"/>
                        <a:t> </a:t>
                      </a:r>
                    </a:p>
                    <a:p>
                      <a:pPr algn="ctr"/>
                      <a:r>
                        <a:rPr lang="fr-FR" baseline="0" dirty="0" smtClean="0"/>
                        <a:t>(standard)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Notation en Event-b probabiliste</a:t>
                      </a:r>
                      <a:endParaRPr lang="fr-FR" dirty="0"/>
                    </a:p>
                  </a:txBody>
                  <a:tcPr/>
                </a:tc>
              </a:tr>
              <a:tr h="1008801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Evénement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008801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aramètres des événement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1008801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Substitution énumérée 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09428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Substitution prédicative</a:t>
                      </a:r>
                    </a:p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9393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85984" y="2357430"/>
            <a:ext cx="3286148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43570" y="2428868"/>
            <a:ext cx="3357586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00760" y="5572140"/>
            <a:ext cx="2428892" cy="41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14612" y="5572140"/>
            <a:ext cx="2428892" cy="375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7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715008" y="4572008"/>
            <a:ext cx="3214710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8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428860" y="4572008"/>
            <a:ext cx="3000396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9399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786050" y="3489531"/>
            <a:ext cx="2566988" cy="391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857884" y="3500438"/>
            <a:ext cx="2566988" cy="391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3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14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15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16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17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20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22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4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5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6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7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8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21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9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EEEEEE"/>
            </a:gs>
            <a:gs pos="64166">
              <a:srgbClr val="E8EFF4"/>
            </a:gs>
            <a:gs pos="83000">
              <a:srgbClr val="DBE4E5"/>
            </a:gs>
            <a:gs pos="78320">
              <a:schemeClr val="accent6">
                <a:lumMod val="20000"/>
                <a:lumOff val="8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6</a:t>
            </a:fld>
            <a:endParaRPr lang="fr-BE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57158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Event-B probabiliste</a:t>
            </a:r>
            <a:endParaRPr lang="fr-FR" sz="2000" b="1" dirty="0"/>
          </a:p>
        </p:txBody>
      </p:sp>
      <p:sp>
        <p:nvSpPr>
          <p:cNvPr id="22" name="Rectangle 21"/>
          <p:cNvSpPr/>
          <p:nvPr/>
        </p:nvSpPr>
        <p:spPr>
          <a:xfrm>
            <a:off x="3929058" y="1500174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500034" y="164305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Probabilité d’un événement)</a:t>
            </a:r>
          </a:p>
          <a:p>
            <a:endParaRPr lang="fr-FR" sz="2000" b="1" dirty="0"/>
          </a:p>
        </p:txBody>
      </p:sp>
      <p:graphicFrame>
        <p:nvGraphicFramePr>
          <p:cNvPr id="25" name="Diagramme 24"/>
          <p:cNvGraphicFramePr/>
          <p:nvPr/>
        </p:nvGraphicFramePr>
        <p:xfrm>
          <a:off x="1071538" y="2357430"/>
          <a:ext cx="735811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4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6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7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28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29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2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4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6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7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9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0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3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1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145149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7</a:t>
            </a:fld>
            <a:endParaRPr lang="fr-BE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-1285916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babilité d’un événement (Exemple)</a:t>
            </a:r>
            <a:endParaRPr lang="fr-FR" sz="2000" b="1" dirty="0"/>
          </a:p>
        </p:txBody>
      </p:sp>
      <p:sp>
        <p:nvSpPr>
          <p:cNvPr id="23" name="Rectangle 22"/>
          <p:cNvSpPr/>
          <p:nvPr/>
        </p:nvSpPr>
        <p:spPr>
          <a:xfrm>
            <a:off x="2285984" y="142873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214282" y="3357562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Arial" charset="0"/>
              </a:rPr>
              <a:t>X=0</a:t>
            </a:r>
          </a:p>
        </p:txBody>
      </p:sp>
      <p:sp>
        <p:nvSpPr>
          <p:cNvPr id="32" name="Ellipse 31"/>
          <p:cNvSpPr/>
          <p:nvPr/>
        </p:nvSpPr>
        <p:spPr bwMode="auto">
          <a:xfrm>
            <a:off x="1643042" y="4857760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X=1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Ellipse 32"/>
          <p:cNvSpPr/>
          <p:nvPr/>
        </p:nvSpPr>
        <p:spPr bwMode="auto">
          <a:xfrm>
            <a:off x="4357686" y="2714620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X=7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Ellipse 33"/>
          <p:cNvSpPr/>
          <p:nvPr/>
        </p:nvSpPr>
        <p:spPr bwMode="auto">
          <a:xfrm>
            <a:off x="4286248" y="1928802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X=2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1785918" y="3143248"/>
            <a:ext cx="142876" cy="142876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2928926" y="2643182"/>
            <a:ext cx="142876" cy="142876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9" name="Connecteur droit avec flèche 38"/>
          <p:cNvCxnSpPr>
            <a:stCxn id="31" idx="6"/>
            <a:endCxn id="36" idx="1"/>
          </p:cNvCxnSpPr>
          <p:nvPr/>
        </p:nvCxnSpPr>
        <p:spPr bwMode="auto">
          <a:xfrm flipV="1">
            <a:off x="857224" y="3214686"/>
            <a:ext cx="928694" cy="46434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1" name="Connecteur droit avec flèche 40"/>
          <p:cNvCxnSpPr>
            <a:stCxn id="31" idx="5"/>
            <a:endCxn id="32" idx="0"/>
          </p:cNvCxnSpPr>
          <p:nvPr/>
        </p:nvCxnSpPr>
        <p:spPr bwMode="auto">
          <a:xfrm rot="16200000" flipH="1">
            <a:off x="888084" y="3781330"/>
            <a:ext cx="951413" cy="120144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3571868" y="3857628"/>
            <a:ext cx="142876" cy="142876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4" name="Connecteur droit avec flèche 43"/>
          <p:cNvCxnSpPr>
            <a:stCxn id="36" idx="3"/>
            <a:endCxn id="37" idx="1"/>
          </p:cNvCxnSpPr>
          <p:nvPr/>
        </p:nvCxnSpPr>
        <p:spPr bwMode="auto">
          <a:xfrm flipV="1">
            <a:off x="1928794" y="2714620"/>
            <a:ext cx="1000132" cy="50006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Connecteur droit avec flèche 45"/>
          <p:cNvCxnSpPr>
            <a:stCxn id="36" idx="3"/>
            <a:endCxn id="42" idx="1"/>
          </p:cNvCxnSpPr>
          <p:nvPr/>
        </p:nvCxnSpPr>
        <p:spPr bwMode="auto">
          <a:xfrm>
            <a:off x="1928794" y="3214686"/>
            <a:ext cx="1643074" cy="71438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Connecteur droit avec flèche 47"/>
          <p:cNvCxnSpPr>
            <a:stCxn id="37" idx="3"/>
            <a:endCxn id="34" idx="2"/>
          </p:cNvCxnSpPr>
          <p:nvPr/>
        </p:nvCxnSpPr>
        <p:spPr bwMode="auto">
          <a:xfrm flipV="1">
            <a:off x="3071802" y="2250273"/>
            <a:ext cx="1214446" cy="46434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1" name="Connecteur droit avec flèche 50"/>
          <p:cNvCxnSpPr>
            <a:stCxn id="37" idx="2"/>
            <a:endCxn id="33" idx="2"/>
          </p:cNvCxnSpPr>
          <p:nvPr/>
        </p:nvCxnSpPr>
        <p:spPr bwMode="auto">
          <a:xfrm rot="16200000" flipH="1">
            <a:off x="3554009" y="2232413"/>
            <a:ext cx="250033" cy="135732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7" name="Ellipse 66"/>
          <p:cNvSpPr/>
          <p:nvPr/>
        </p:nvSpPr>
        <p:spPr bwMode="auto">
          <a:xfrm>
            <a:off x="4357686" y="4572008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X=6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Ellipse 67"/>
          <p:cNvSpPr/>
          <p:nvPr/>
        </p:nvSpPr>
        <p:spPr bwMode="auto">
          <a:xfrm>
            <a:off x="4429124" y="3571876"/>
            <a:ext cx="642942" cy="64294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chemeClr val="bg1">
                    <a:lumMod val="95000"/>
                  </a:schemeClr>
                </a:solidFill>
                <a:latin typeface="Arial" charset="0"/>
              </a:rPr>
              <a:t>X=3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0" name="Connecteur droit avec flèche 69"/>
          <p:cNvCxnSpPr>
            <a:stCxn id="42" idx="3"/>
            <a:endCxn id="68" idx="2"/>
          </p:cNvCxnSpPr>
          <p:nvPr/>
        </p:nvCxnSpPr>
        <p:spPr bwMode="auto">
          <a:xfrm flipV="1">
            <a:off x="3714744" y="3893347"/>
            <a:ext cx="714380" cy="3571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Connecteur droit avec flèche 71"/>
          <p:cNvCxnSpPr>
            <a:stCxn id="42" idx="2"/>
            <a:endCxn id="67" idx="1"/>
          </p:cNvCxnSpPr>
          <p:nvPr/>
        </p:nvCxnSpPr>
        <p:spPr bwMode="auto">
          <a:xfrm rot="16200000" flipH="1">
            <a:off x="3714744" y="3929065"/>
            <a:ext cx="665661" cy="80853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8" name="Rectangle 77"/>
          <p:cNvSpPr/>
          <p:nvPr/>
        </p:nvSpPr>
        <p:spPr>
          <a:xfrm rot="19798585">
            <a:off x="884114" y="3050346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1/3|</a:t>
            </a:r>
            <a:r>
              <a:rPr lang="fr-FR" sz="1600" b="1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Evt</a:t>
            </a:r>
            <a:r>
              <a:rPr lang="fr-FR" sz="1600" b="1" baseline="-30000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1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 rot="2315093">
            <a:off x="797305" y="4375117"/>
            <a:ext cx="861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2/3|</a:t>
            </a:r>
            <a:r>
              <a:rPr lang="fr-FR" sz="1600" b="1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Evt</a:t>
            </a:r>
            <a:r>
              <a:rPr lang="fr-FR" sz="1600" b="1" baseline="-30000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2</a:t>
            </a:r>
            <a:endParaRPr lang="fr-FR" sz="1600" b="1" dirty="0">
              <a:solidFill>
                <a:srgbClr val="FF0000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 rot="20283384">
            <a:off x="1942422" y="2688249"/>
            <a:ext cx="8643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latin typeface="Calibri" pitchFamily="34" charset="0"/>
                <a:ea typeface="Calibri" pitchFamily="34" charset="0"/>
                <a:cs typeface="Arial" pitchFamily="34" charset="0"/>
              </a:rPr>
              <a:t>1/2|t1=2</a:t>
            </a:r>
            <a:endParaRPr lang="fr-FR" sz="1600" b="1" dirty="0"/>
          </a:p>
        </p:txBody>
      </p:sp>
      <p:sp>
        <p:nvSpPr>
          <p:cNvPr id="81" name="Rectangle 80"/>
          <p:cNvSpPr/>
          <p:nvPr/>
        </p:nvSpPr>
        <p:spPr>
          <a:xfrm rot="1414509">
            <a:off x="2289472" y="3534674"/>
            <a:ext cx="8643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prstClr val="black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1/2|t2=3</a:t>
            </a:r>
            <a:endParaRPr lang="fr-FR" sz="1600" b="1" dirty="0"/>
          </a:p>
        </p:txBody>
      </p:sp>
      <p:sp>
        <p:nvSpPr>
          <p:cNvPr id="82" name="Rectangle 81"/>
          <p:cNvSpPr/>
          <p:nvPr/>
        </p:nvSpPr>
        <p:spPr>
          <a:xfrm rot="20989544">
            <a:off x="3309805" y="2179941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00B05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1/5</a:t>
            </a:r>
            <a:endParaRPr lang="fr-FR" sz="1600" b="1" dirty="0">
              <a:solidFill>
                <a:srgbClr val="00B050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3714744" y="2571744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00B05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4/5</a:t>
            </a:r>
            <a:endParaRPr lang="fr-FR" sz="1600" b="1" dirty="0">
              <a:solidFill>
                <a:srgbClr val="00B050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 rot="20967749">
            <a:off x="3810577" y="3609912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00B05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1/5</a:t>
            </a:r>
            <a:endParaRPr lang="fr-FR" sz="1600" b="1" dirty="0">
              <a:solidFill>
                <a:srgbClr val="00B05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 rot="1837251">
            <a:off x="3476396" y="4235088"/>
            <a:ext cx="444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 dirty="0" smtClean="0">
                <a:solidFill>
                  <a:srgbClr val="00B050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4/5</a:t>
            </a:r>
            <a:endParaRPr lang="fr-FR" sz="1600" b="1" dirty="0">
              <a:solidFill>
                <a:srgbClr val="00B050"/>
              </a:solidFill>
            </a:endParaRPr>
          </a:p>
        </p:txBody>
      </p:sp>
      <p:cxnSp>
        <p:nvCxnSpPr>
          <p:cNvPr id="76" name="Connecteur droit avec flèche 75"/>
          <p:cNvCxnSpPr/>
          <p:nvPr/>
        </p:nvCxnSpPr>
        <p:spPr bwMode="auto">
          <a:xfrm>
            <a:off x="0" y="3714752"/>
            <a:ext cx="214314" cy="158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49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50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55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58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69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74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77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87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88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89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90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91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75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1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5325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72198" y="923925"/>
            <a:ext cx="2085975" cy="593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51899858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36" grpId="0" animBg="1"/>
      <p:bldP spid="37" grpId="0" animBg="1"/>
      <p:bldP spid="42" grpId="0" animBg="1"/>
      <p:bldP spid="67" grpId="0" animBg="1"/>
      <p:bldP spid="68" grpId="0" animBg="1"/>
      <p:bldP spid="78" grpId="0"/>
      <p:bldP spid="79" grpId="0"/>
      <p:bldP spid="80" grpId="0"/>
      <p:bldP spid="81" grpId="0"/>
      <p:bldP spid="82" grpId="0"/>
      <p:bldP spid="83" grpId="0"/>
      <p:bldP spid="84" grpId="0"/>
      <p:bldP spid="8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8</a:t>
            </a:fld>
            <a:endParaRPr lang="fr-BE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57158" y="107154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Event-B probabiliste</a:t>
            </a:r>
            <a:endParaRPr lang="fr-FR" sz="2000" b="1" dirty="0"/>
          </a:p>
        </p:txBody>
      </p:sp>
      <p:sp>
        <p:nvSpPr>
          <p:cNvPr id="22" name="Rectangle 21"/>
          <p:cNvSpPr/>
          <p:nvPr/>
        </p:nvSpPr>
        <p:spPr>
          <a:xfrm>
            <a:off x="3929058" y="1500174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500034" y="164305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Probabilité d’activation d’un événement)</a:t>
            </a:r>
          </a:p>
          <a:p>
            <a:endParaRPr lang="fr-FR" sz="2000" b="1" dirty="0"/>
          </a:p>
        </p:txBody>
      </p:sp>
      <p:grpSp>
        <p:nvGrpSpPr>
          <p:cNvPr id="24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5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6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27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28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3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5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6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7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9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2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9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51201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928934"/>
            <a:ext cx="9180555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8145149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19</a:t>
            </a:fld>
            <a:endParaRPr lang="fr-BE" dirty="0"/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357158" y="100010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babilité d’un événement (Exemple)</a:t>
            </a:r>
            <a:endParaRPr lang="fr-FR" sz="2000" b="1" dirty="0"/>
          </a:p>
        </p:txBody>
      </p:sp>
      <p:sp>
        <p:nvSpPr>
          <p:cNvPr id="23" name="Rectangle 22"/>
          <p:cNvSpPr/>
          <p:nvPr/>
        </p:nvSpPr>
        <p:spPr>
          <a:xfrm>
            <a:off x="3786182" y="1357298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000240"/>
            <a:ext cx="3571900" cy="3848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43306" y="1571612"/>
            <a:ext cx="5286380" cy="5005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4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5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7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28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29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2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4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6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7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9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0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3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b="1" dirty="0" smtClean="0">
                    <a:solidFill>
                      <a:schemeClr val="bg1"/>
                    </a:solidFill>
                  </a:rPr>
                  <a:t>Event-B probabiliste</a:t>
                </a:r>
                <a:endParaRPr lang="fr-FR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0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1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1899858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67944" y="332656"/>
            <a:ext cx="1008112" cy="621605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Pla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4860032" y="1484784"/>
            <a:ext cx="2160240" cy="760859"/>
          </a:xfrm>
        </p:spPr>
        <p:txBody>
          <a:bodyPr/>
          <a:lstStyle/>
          <a:p>
            <a:pPr lvl="0"/>
            <a:r>
              <a:rPr lang="fr-FR" sz="1700" dirty="0" smtClean="0">
                <a:solidFill>
                  <a:schemeClr val="tx2"/>
                </a:solidFill>
                <a:latin typeface="Open Sans Light"/>
              </a:rPr>
              <a:t>Introduction</a:t>
            </a:r>
            <a:endParaRPr lang="fr-FR" sz="1700" dirty="0">
              <a:solidFill>
                <a:schemeClr val="tx2"/>
              </a:solidFill>
              <a:latin typeface="Open Sans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283968" y="908720"/>
            <a:ext cx="582541" cy="6400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1"/>
              </a:solidFill>
              <a:latin typeface="Open Sans Light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570787" y="1978640"/>
            <a:ext cx="0" cy="3921855"/>
          </a:xfrm>
          <a:prstGeom prst="line">
            <a:avLst/>
          </a:prstGeom>
          <a:ln>
            <a:solidFill>
              <a:srgbClr val="D9D9D9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>
          <a:xfrm>
            <a:off x="4342584" y="1573800"/>
            <a:ext cx="463104" cy="61755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1" name="AutoShape 29"/>
          <p:cNvSpPr>
            <a:spLocks/>
          </p:cNvSpPr>
          <p:nvPr/>
        </p:nvSpPr>
        <p:spPr bwMode="auto">
          <a:xfrm>
            <a:off x="4500990" y="1758149"/>
            <a:ext cx="154150" cy="22049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3598" y="2167"/>
                </a:moveTo>
                <a:cubicBezTo>
                  <a:pt x="3598" y="2549"/>
                  <a:pt x="3517" y="2902"/>
                  <a:pt x="3358" y="3213"/>
                </a:cubicBezTo>
                <a:cubicBezTo>
                  <a:pt x="3197" y="3525"/>
                  <a:pt x="2981" y="3792"/>
                  <a:pt x="2707" y="4006"/>
                </a:cubicBezTo>
                <a:lnTo>
                  <a:pt x="2707" y="21050"/>
                </a:lnTo>
                <a:cubicBezTo>
                  <a:pt x="2707" y="21203"/>
                  <a:pt x="2663" y="21329"/>
                  <a:pt x="2580" y="21438"/>
                </a:cubicBezTo>
                <a:cubicBezTo>
                  <a:pt x="2492" y="21547"/>
                  <a:pt x="2386" y="21599"/>
                  <a:pt x="2262" y="21599"/>
                </a:cubicBezTo>
                <a:lnTo>
                  <a:pt x="1348" y="21599"/>
                </a:lnTo>
                <a:cubicBezTo>
                  <a:pt x="1221" y="21599"/>
                  <a:pt x="1118" y="21544"/>
                  <a:pt x="1038" y="21438"/>
                </a:cubicBezTo>
                <a:cubicBezTo>
                  <a:pt x="954" y="21329"/>
                  <a:pt x="913" y="21203"/>
                  <a:pt x="913" y="21050"/>
                </a:cubicBezTo>
                <a:lnTo>
                  <a:pt x="913" y="4006"/>
                </a:lnTo>
                <a:cubicBezTo>
                  <a:pt x="641" y="3792"/>
                  <a:pt x="421" y="3525"/>
                  <a:pt x="252" y="3213"/>
                </a:cubicBezTo>
                <a:cubicBezTo>
                  <a:pt x="83" y="2902"/>
                  <a:pt x="0" y="2549"/>
                  <a:pt x="0" y="2167"/>
                </a:cubicBezTo>
                <a:cubicBezTo>
                  <a:pt x="0" y="1574"/>
                  <a:pt x="176" y="1069"/>
                  <a:pt x="528" y="640"/>
                </a:cubicBezTo>
                <a:cubicBezTo>
                  <a:pt x="878" y="211"/>
                  <a:pt x="1304" y="0"/>
                  <a:pt x="1804" y="0"/>
                </a:cubicBezTo>
                <a:cubicBezTo>
                  <a:pt x="2296" y="0"/>
                  <a:pt x="2719" y="211"/>
                  <a:pt x="3069" y="640"/>
                </a:cubicBezTo>
                <a:cubicBezTo>
                  <a:pt x="3422" y="1069"/>
                  <a:pt x="3598" y="1571"/>
                  <a:pt x="3598" y="2167"/>
                </a:cubicBezTo>
                <a:moveTo>
                  <a:pt x="20838" y="2476"/>
                </a:moveTo>
                <a:cubicBezTo>
                  <a:pt x="21063" y="2323"/>
                  <a:pt x="21247" y="2297"/>
                  <a:pt x="21389" y="2391"/>
                </a:cubicBezTo>
                <a:cubicBezTo>
                  <a:pt x="21529" y="2485"/>
                  <a:pt x="21599" y="2684"/>
                  <a:pt x="21599" y="2996"/>
                </a:cubicBezTo>
                <a:lnTo>
                  <a:pt x="21599" y="13515"/>
                </a:lnTo>
                <a:cubicBezTo>
                  <a:pt x="21599" y="13803"/>
                  <a:pt x="21526" y="14106"/>
                  <a:pt x="21382" y="14420"/>
                </a:cubicBezTo>
                <a:cubicBezTo>
                  <a:pt x="21237" y="14737"/>
                  <a:pt x="21056" y="14966"/>
                  <a:pt x="20838" y="15119"/>
                </a:cubicBezTo>
                <a:cubicBezTo>
                  <a:pt x="19954" y="15757"/>
                  <a:pt x="19146" y="16165"/>
                  <a:pt x="18412" y="16350"/>
                </a:cubicBezTo>
                <a:cubicBezTo>
                  <a:pt x="17678" y="16529"/>
                  <a:pt x="17036" y="16606"/>
                  <a:pt x="16490" y="16567"/>
                </a:cubicBezTo>
                <a:cubicBezTo>
                  <a:pt x="15849" y="16526"/>
                  <a:pt x="15281" y="16371"/>
                  <a:pt x="14791" y="16103"/>
                </a:cubicBezTo>
                <a:cubicBezTo>
                  <a:pt x="14392" y="15851"/>
                  <a:pt x="14003" y="15607"/>
                  <a:pt x="13623" y="15378"/>
                </a:cubicBezTo>
                <a:cubicBezTo>
                  <a:pt x="13244" y="15146"/>
                  <a:pt x="12857" y="14946"/>
                  <a:pt x="12458" y="14773"/>
                </a:cubicBezTo>
                <a:cubicBezTo>
                  <a:pt x="12059" y="14599"/>
                  <a:pt x="11640" y="14461"/>
                  <a:pt x="11197" y="14358"/>
                </a:cubicBezTo>
                <a:cubicBezTo>
                  <a:pt x="10757" y="14256"/>
                  <a:pt x="10269" y="14203"/>
                  <a:pt x="9738" y="14203"/>
                </a:cubicBezTo>
                <a:cubicBezTo>
                  <a:pt x="9310" y="14220"/>
                  <a:pt x="8825" y="14306"/>
                  <a:pt x="8286" y="14455"/>
                </a:cubicBezTo>
                <a:cubicBezTo>
                  <a:pt x="7824" y="14588"/>
                  <a:pt x="7266" y="14799"/>
                  <a:pt x="6605" y="15090"/>
                </a:cubicBezTo>
                <a:cubicBezTo>
                  <a:pt x="5944" y="15381"/>
                  <a:pt x="5207" y="15792"/>
                  <a:pt x="4394" y="16327"/>
                </a:cubicBezTo>
                <a:cubicBezTo>
                  <a:pt x="4169" y="16476"/>
                  <a:pt x="3978" y="16494"/>
                  <a:pt x="3826" y="16382"/>
                </a:cubicBezTo>
                <a:cubicBezTo>
                  <a:pt x="3674" y="16268"/>
                  <a:pt x="3598" y="16059"/>
                  <a:pt x="3598" y="15751"/>
                </a:cubicBezTo>
                <a:lnTo>
                  <a:pt x="3598" y="5273"/>
                </a:lnTo>
                <a:cubicBezTo>
                  <a:pt x="3598" y="4964"/>
                  <a:pt x="3674" y="4653"/>
                  <a:pt x="3826" y="4347"/>
                </a:cubicBezTo>
                <a:cubicBezTo>
                  <a:pt x="3978" y="4036"/>
                  <a:pt x="4169" y="3807"/>
                  <a:pt x="4394" y="3654"/>
                </a:cubicBezTo>
                <a:cubicBezTo>
                  <a:pt x="5207" y="3143"/>
                  <a:pt x="5941" y="2737"/>
                  <a:pt x="6597" y="2447"/>
                </a:cubicBezTo>
                <a:cubicBezTo>
                  <a:pt x="7253" y="2156"/>
                  <a:pt x="7816" y="1944"/>
                  <a:pt x="8286" y="1812"/>
                </a:cubicBezTo>
                <a:cubicBezTo>
                  <a:pt x="8832" y="1665"/>
                  <a:pt x="9317" y="1580"/>
                  <a:pt x="9738" y="1559"/>
                </a:cubicBezTo>
                <a:cubicBezTo>
                  <a:pt x="10269" y="1559"/>
                  <a:pt x="10757" y="1612"/>
                  <a:pt x="11197" y="1715"/>
                </a:cubicBezTo>
                <a:cubicBezTo>
                  <a:pt x="11640" y="1818"/>
                  <a:pt x="12059" y="1956"/>
                  <a:pt x="12458" y="2135"/>
                </a:cubicBezTo>
                <a:cubicBezTo>
                  <a:pt x="12857" y="2306"/>
                  <a:pt x="13242" y="2508"/>
                  <a:pt x="13619" y="2737"/>
                </a:cubicBezTo>
                <a:cubicBezTo>
                  <a:pt x="13993" y="2967"/>
                  <a:pt x="14385" y="3207"/>
                  <a:pt x="14791" y="3463"/>
                </a:cubicBezTo>
                <a:cubicBezTo>
                  <a:pt x="15281" y="3736"/>
                  <a:pt x="15849" y="3889"/>
                  <a:pt x="16490" y="3924"/>
                </a:cubicBezTo>
                <a:cubicBezTo>
                  <a:pt x="17036" y="3965"/>
                  <a:pt x="17678" y="3889"/>
                  <a:pt x="18412" y="3707"/>
                </a:cubicBezTo>
                <a:cubicBezTo>
                  <a:pt x="19146" y="3522"/>
                  <a:pt x="19957" y="3113"/>
                  <a:pt x="20838" y="2476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lIns="15992" tIns="15992" rIns="15992" bIns="15992" anchor="ctr"/>
          <a:lstStyle/>
          <a:p>
            <a:pPr defTabSz="143828">
              <a:defRPr/>
            </a:pPr>
            <a:endParaRPr lang="es-ES" sz="900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4342584" y="2421890"/>
            <a:ext cx="463104" cy="61755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4341541" y="3218194"/>
            <a:ext cx="463104" cy="617553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4341541" y="4066285"/>
            <a:ext cx="463104" cy="61755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4342584" y="4855244"/>
            <a:ext cx="463104" cy="61755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4342584" y="5703335"/>
            <a:ext cx="463104" cy="61755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89" tIns="19194" rIns="38389" bIns="19194" spcCol="0"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42" name="AutoShape 18"/>
          <p:cNvSpPr>
            <a:spLocks/>
          </p:cNvSpPr>
          <p:nvPr/>
        </p:nvSpPr>
        <p:spPr bwMode="auto">
          <a:xfrm>
            <a:off x="4471409" y="5043235"/>
            <a:ext cx="205174" cy="24157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11152"/>
                </a:moveTo>
                <a:lnTo>
                  <a:pt x="0" y="5936"/>
                </a:lnTo>
                <a:cubicBezTo>
                  <a:pt x="0" y="5498"/>
                  <a:pt x="132" y="5116"/>
                  <a:pt x="396" y="4796"/>
                </a:cubicBezTo>
                <a:cubicBezTo>
                  <a:pt x="663" y="4479"/>
                  <a:pt x="979" y="4317"/>
                  <a:pt x="1346" y="4317"/>
                </a:cubicBezTo>
                <a:lnTo>
                  <a:pt x="6316" y="4317"/>
                </a:lnTo>
                <a:lnTo>
                  <a:pt x="6316" y="1072"/>
                </a:lnTo>
                <a:cubicBezTo>
                  <a:pt x="6316" y="781"/>
                  <a:pt x="6399" y="528"/>
                  <a:pt x="6568" y="320"/>
                </a:cubicBezTo>
                <a:cubicBezTo>
                  <a:pt x="6737" y="108"/>
                  <a:pt x="6945" y="0"/>
                  <a:pt x="7195" y="0"/>
                </a:cubicBezTo>
                <a:lnTo>
                  <a:pt x="14402" y="0"/>
                </a:lnTo>
                <a:cubicBezTo>
                  <a:pt x="14661" y="0"/>
                  <a:pt x="14877" y="108"/>
                  <a:pt x="15053" y="320"/>
                </a:cubicBezTo>
                <a:cubicBezTo>
                  <a:pt x="15227" y="528"/>
                  <a:pt x="15318" y="781"/>
                  <a:pt x="15318" y="1072"/>
                </a:cubicBezTo>
                <a:lnTo>
                  <a:pt x="15318" y="4317"/>
                </a:lnTo>
                <a:lnTo>
                  <a:pt x="20263" y="4317"/>
                </a:lnTo>
                <a:cubicBezTo>
                  <a:pt x="20630" y="4317"/>
                  <a:pt x="20943" y="4479"/>
                  <a:pt x="21205" y="4796"/>
                </a:cubicBezTo>
                <a:cubicBezTo>
                  <a:pt x="21467" y="5116"/>
                  <a:pt x="21599" y="5498"/>
                  <a:pt x="21599" y="5936"/>
                </a:cubicBezTo>
                <a:lnTo>
                  <a:pt x="21599" y="11152"/>
                </a:lnTo>
                <a:lnTo>
                  <a:pt x="0" y="11152"/>
                </a:lnTo>
                <a:close/>
                <a:moveTo>
                  <a:pt x="21599" y="12782"/>
                </a:moveTo>
                <a:lnTo>
                  <a:pt x="21599" y="19981"/>
                </a:lnTo>
                <a:cubicBezTo>
                  <a:pt x="21599" y="20425"/>
                  <a:pt x="21467" y="20801"/>
                  <a:pt x="21205" y="21121"/>
                </a:cubicBezTo>
                <a:cubicBezTo>
                  <a:pt x="20943" y="21438"/>
                  <a:pt x="20630" y="21599"/>
                  <a:pt x="20263" y="21599"/>
                </a:cubicBezTo>
                <a:lnTo>
                  <a:pt x="1346" y="21599"/>
                </a:lnTo>
                <a:cubicBezTo>
                  <a:pt x="979" y="21599"/>
                  <a:pt x="663" y="21438"/>
                  <a:pt x="396" y="21121"/>
                </a:cubicBezTo>
                <a:cubicBezTo>
                  <a:pt x="132" y="20801"/>
                  <a:pt x="0" y="20425"/>
                  <a:pt x="0" y="19981"/>
                </a:cubicBezTo>
                <a:lnTo>
                  <a:pt x="0" y="12782"/>
                </a:lnTo>
                <a:lnTo>
                  <a:pt x="8355" y="12782"/>
                </a:lnTo>
                <a:cubicBezTo>
                  <a:pt x="8340" y="12841"/>
                  <a:pt x="8333" y="12929"/>
                  <a:pt x="8333" y="13052"/>
                </a:cubicBezTo>
                <a:lnTo>
                  <a:pt x="8333" y="15199"/>
                </a:lnTo>
                <a:cubicBezTo>
                  <a:pt x="8333" y="15713"/>
                  <a:pt x="8482" y="16160"/>
                  <a:pt x="8783" y="16542"/>
                </a:cubicBezTo>
                <a:cubicBezTo>
                  <a:pt x="9085" y="16921"/>
                  <a:pt x="9462" y="17112"/>
                  <a:pt x="9914" y="17112"/>
                </a:cubicBezTo>
                <a:lnTo>
                  <a:pt x="11707" y="17112"/>
                </a:lnTo>
                <a:cubicBezTo>
                  <a:pt x="12137" y="17112"/>
                  <a:pt x="12507" y="16924"/>
                  <a:pt x="12816" y="16548"/>
                </a:cubicBezTo>
                <a:cubicBezTo>
                  <a:pt x="13124" y="16175"/>
                  <a:pt x="13278" y="15725"/>
                  <a:pt x="13278" y="15199"/>
                </a:cubicBezTo>
                <a:lnTo>
                  <a:pt x="13278" y="13052"/>
                </a:lnTo>
                <a:cubicBezTo>
                  <a:pt x="13278" y="12938"/>
                  <a:pt x="13266" y="12847"/>
                  <a:pt x="13242" y="12782"/>
                </a:cubicBezTo>
                <a:lnTo>
                  <a:pt x="21599" y="12782"/>
                </a:lnTo>
                <a:close/>
                <a:moveTo>
                  <a:pt x="8108" y="4320"/>
                </a:moveTo>
                <a:lnTo>
                  <a:pt x="13511" y="4320"/>
                </a:lnTo>
                <a:lnTo>
                  <a:pt x="13511" y="2170"/>
                </a:lnTo>
                <a:lnTo>
                  <a:pt x="8108" y="2170"/>
                </a:lnTo>
                <a:lnTo>
                  <a:pt x="8108" y="4320"/>
                </a:lnTo>
                <a:close/>
                <a:moveTo>
                  <a:pt x="11707" y="12782"/>
                </a:moveTo>
                <a:cubicBezTo>
                  <a:pt x="11849" y="12782"/>
                  <a:pt x="11922" y="12873"/>
                  <a:pt x="11929" y="13052"/>
                </a:cubicBezTo>
                <a:lnTo>
                  <a:pt x="11929" y="15199"/>
                </a:lnTo>
                <a:cubicBezTo>
                  <a:pt x="11929" y="15367"/>
                  <a:pt x="11856" y="15455"/>
                  <a:pt x="11707" y="15467"/>
                </a:cubicBezTo>
                <a:lnTo>
                  <a:pt x="9914" y="15467"/>
                </a:lnTo>
                <a:cubicBezTo>
                  <a:pt x="9758" y="15467"/>
                  <a:pt x="9675" y="15379"/>
                  <a:pt x="9667" y="15199"/>
                </a:cubicBezTo>
                <a:lnTo>
                  <a:pt x="9667" y="13052"/>
                </a:lnTo>
                <a:cubicBezTo>
                  <a:pt x="9667" y="12882"/>
                  <a:pt x="9750" y="12794"/>
                  <a:pt x="9914" y="12782"/>
                </a:cubicBezTo>
                <a:lnTo>
                  <a:pt x="11707" y="127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lIns="15998" tIns="15998" rIns="15998" bIns="15998" anchor="ctr"/>
          <a:lstStyle/>
          <a:p>
            <a:pPr defTabSz="143828">
              <a:defRPr/>
            </a:pPr>
            <a:endParaRPr lang="es-ES" sz="900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43" name="Subtitle 9"/>
          <p:cNvSpPr txBox="1">
            <a:spLocks/>
          </p:cNvSpPr>
          <p:nvPr/>
        </p:nvSpPr>
        <p:spPr>
          <a:xfrm>
            <a:off x="1548851" y="2508072"/>
            <a:ext cx="2714564" cy="389348"/>
          </a:xfrm>
          <a:prstGeom prst="rect">
            <a:avLst/>
          </a:prstGeom>
        </p:spPr>
        <p:txBody>
          <a:bodyPr vert="horz" lIns="91324" tIns="45662" rIns="91324" bIns="45662" rtlCol="0">
            <a:sp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fr-FR" sz="1700" b="1" dirty="0" smtClean="0"/>
              <a:t>Présentation du projet</a:t>
            </a:r>
            <a:endParaRPr lang="fr-FR" sz="1500" b="1" dirty="0"/>
          </a:p>
        </p:txBody>
      </p:sp>
      <p:sp>
        <p:nvSpPr>
          <p:cNvPr id="44" name="Subtitle 9"/>
          <p:cNvSpPr txBox="1">
            <a:spLocks/>
          </p:cNvSpPr>
          <p:nvPr/>
        </p:nvSpPr>
        <p:spPr>
          <a:xfrm>
            <a:off x="4762653" y="3186626"/>
            <a:ext cx="2714564" cy="377294"/>
          </a:xfrm>
          <a:prstGeom prst="rect">
            <a:avLst/>
          </a:prstGeom>
        </p:spPr>
        <p:txBody>
          <a:bodyPr vert="horz" lIns="91324" tIns="45662" rIns="91324" bIns="45662" rtlCol="0">
            <a:sp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fr-FR" sz="1700" b="1" dirty="0" smtClean="0"/>
              <a:t>Event-B</a:t>
            </a:r>
            <a:endParaRPr lang="fr-FR" sz="1700" b="1" dirty="0"/>
          </a:p>
        </p:txBody>
      </p:sp>
      <p:sp>
        <p:nvSpPr>
          <p:cNvPr id="45" name="Subtitle 9"/>
          <p:cNvSpPr txBox="1">
            <a:spLocks/>
          </p:cNvSpPr>
          <p:nvPr/>
        </p:nvSpPr>
        <p:spPr>
          <a:xfrm>
            <a:off x="1547664" y="4151762"/>
            <a:ext cx="2715751" cy="377294"/>
          </a:xfrm>
          <a:prstGeom prst="rect">
            <a:avLst/>
          </a:prstGeom>
        </p:spPr>
        <p:txBody>
          <a:bodyPr vert="horz" wrap="square" lIns="91324" tIns="45662" rIns="91324" bIns="45662" rtlCol="0">
            <a:sp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sz="1700" b="1" dirty="0" smtClean="0"/>
              <a:t>Event-B probabiliste</a:t>
            </a:r>
            <a:endParaRPr lang="fr-FR" sz="1700" b="1" dirty="0"/>
          </a:p>
        </p:txBody>
      </p:sp>
      <p:sp>
        <p:nvSpPr>
          <p:cNvPr id="47" name="Subtitle 9"/>
          <p:cNvSpPr txBox="1">
            <a:spLocks/>
          </p:cNvSpPr>
          <p:nvPr/>
        </p:nvSpPr>
        <p:spPr>
          <a:xfrm>
            <a:off x="4805688" y="4941426"/>
            <a:ext cx="2714564" cy="720080"/>
          </a:xfrm>
          <a:prstGeom prst="rect">
            <a:avLst/>
          </a:prstGeom>
        </p:spPr>
        <p:txBody>
          <a:bodyPr vert="horz" lIns="91324" tIns="45662" rIns="91324" bIns="45662" rtlCol="0">
            <a:sp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/>
            <a:r>
              <a:rPr lang="fr-FR" sz="1700" b="1" dirty="0" smtClean="0"/>
              <a:t>Propriété de limite d’activation</a:t>
            </a:r>
            <a:endParaRPr lang="fr-FR" sz="1500" b="1" dirty="0"/>
          </a:p>
        </p:txBody>
      </p:sp>
      <p:sp>
        <p:nvSpPr>
          <p:cNvPr id="48" name="Subtitle 9"/>
          <p:cNvSpPr txBox="1">
            <a:spLocks/>
          </p:cNvSpPr>
          <p:nvPr/>
        </p:nvSpPr>
        <p:spPr>
          <a:xfrm>
            <a:off x="1548851" y="5780902"/>
            <a:ext cx="2714564" cy="377294"/>
          </a:xfrm>
          <a:prstGeom prst="rect">
            <a:avLst/>
          </a:prstGeom>
        </p:spPr>
        <p:txBody>
          <a:bodyPr vert="horz" lIns="91324" tIns="45662" rIns="91324" bIns="45662" rtlCol="0">
            <a:spAutoFit/>
          </a:bodyPr>
          <a:lstStyle>
            <a:lvl1pPr marL="0" indent="0" algn="ctr" defTabSz="1087444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444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4887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338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49779" indent="0" algn="ctr" defTabSz="1087444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1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722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4671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2115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699558" indent="0" algn="ctr" defTabSz="1087444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fr-FR" sz="1700" b="1" dirty="0" smtClean="0"/>
              <a:t>Conclusion</a:t>
            </a:r>
            <a:endParaRPr lang="fr-FR" sz="1700" b="1" dirty="0"/>
          </a:p>
        </p:txBody>
      </p:sp>
      <p:sp>
        <p:nvSpPr>
          <p:cNvPr id="27" name="AutoShape 115"/>
          <p:cNvSpPr>
            <a:spLocks/>
          </p:cNvSpPr>
          <p:nvPr/>
        </p:nvSpPr>
        <p:spPr bwMode="auto">
          <a:xfrm>
            <a:off x="4481943" y="3402554"/>
            <a:ext cx="186521" cy="2667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357" y="18801"/>
                </a:moveTo>
                <a:cubicBezTo>
                  <a:pt x="21518" y="18965"/>
                  <a:pt x="21599" y="19177"/>
                  <a:pt x="21599" y="19436"/>
                </a:cubicBezTo>
                <a:cubicBezTo>
                  <a:pt x="21599" y="19580"/>
                  <a:pt x="21518" y="19775"/>
                  <a:pt x="21357" y="20018"/>
                </a:cubicBezTo>
                <a:cubicBezTo>
                  <a:pt x="21193" y="20261"/>
                  <a:pt x="20989" y="20504"/>
                  <a:pt x="20746" y="20741"/>
                </a:cubicBezTo>
                <a:cubicBezTo>
                  <a:pt x="20503" y="20978"/>
                  <a:pt x="20260" y="21184"/>
                  <a:pt x="20023" y="21348"/>
                </a:cubicBezTo>
                <a:cubicBezTo>
                  <a:pt x="19783" y="21518"/>
                  <a:pt x="19593" y="21599"/>
                  <a:pt x="19447" y="21599"/>
                </a:cubicBezTo>
                <a:cubicBezTo>
                  <a:pt x="19189" y="21599"/>
                  <a:pt x="18975" y="21515"/>
                  <a:pt x="18811" y="21343"/>
                </a:cubicBezTo>
                <a:lnTo>
                  <a:pt x="13957" y="16502"/>
                </a:lnTo>
                <a:cubicBezTo>
                  <a:pt x="13217" y="16980"/>
                  <a:pt x="12428" y="17350"/>
                  <a:pt x="11589" y="17604"/>
                </a:cubicBezTo>
                <a:cubicBezTo>
                  <a:pt x="10750" y="17864"/>
                  <a:pt x="9891" y="17991"/>
                  <a:pt x="9007" y="17991"/>
                </a:cubicBezTo>
                <a:cubicBezTo>
                  <a:pt x="7769" y="17991"/>
                  <a:pt x="6608" y="17759"/>
                  <a:pt x="5517" y="17290"/>
                </a:cubicBezTo>
                <a:cubicBezTo>
                  <a:pt x="4427" y="16822"/>
                  <a:pt x="3469" y="16175"/>
                  <a:pt x="2644" y="15353"/>
                </a:cubicBezTo>
                <a:cubicBezTo>
                  <a:pt x="1816" y="14534"/>
                  <a:pt x="1172" y="13580"/>
                  <a:pt x="700" y="12487"/>
                </a:cubicBezTo>
                <a:cubicBezTo>
                  <a:pt x="231" y="11400"/>
                  <a:pt x="0" y="10236"/>
                  <a:pt x="0" y="8999"/>
                </a:cubicBezTo>
                <a:cubicBezTo>
                  <a:pt x="0" y="7768"/>
                  <a:pt x="231" y="6602"/>
                  <a:pt x="700" y="5515"/>
                </a:cubicBezTo>
                <a:cubicBezTo>
                  <a:pt x="1169" y="4422"/>
                  <a:pt x="1816" y="3467"/>
                  <a:pt x="2644" y="2645"/>
                </a:cubicBezTo>
                <a:cubicBezTo>
                  <a:pt x="3469" y="1827"/>
                  <a:pt x="4424" y="1180"/>
                  <a:pt x="5512" y="708"/>
                </a:cubicBezTo>
                <a:cubicBezTo>
                  <a:pt x="6600" y="237"/>
                  <a:pt x="7764" y="0"/>
                  <a:pt x="9007" y="0"/>
                </a:cubicBezTo>
                <a:cubicBezTo>
                  <a:pt x="10244" y="0"/>
                  <a:pt x="11403" y="237"/>
                  <a:pt x="12488" y="708"/>
                </a:cubicBezTo>
                <a:cubicBezTo>
                  <a:pt x="13573" y="1180"/>
                  <a:pt x="14530" y="1827"/>
                  <a:pt x="15358" y="2645"/>
                </a:cubicBezTo>
                <a:cubicBezTo>
                  <a:pt x="16183" y="3467"/>
                  <a:pt x="16830" y="4422"/>
                  <a:pt x="17299" y="5515"/>
                </a:cubicBezTo>
                <a:cubicBezTo>
                  <a:pt x="17768" y="6602"/>
                  <a:pt x="18003" y="7768"/>
                  <a:pt x="18003" y="8999"/>
                </a:cubicBezTo>
                <a:cubicBezTo>
                  <a:pt x="18003" y="9886"/>
                  <a:pt x="17873" y="10747"/>
                  <a:pt x="17616" y="11589"/>
                </a:cubicBezTo>
                <a:cubicBezTo>
                  <a:pt x="17359" y="12433"/>
                  <a:pt x="16991" y="13218"/>
                  <a:pt x="16514" y="13947"/>
                </a:cubicBezTo>
                <a:lnTo>
                  <a:pt x="21357" y="18801"/>
                </a:lnTo>
                <a:close/>
                <a:moveTo>
                  <a:pt x="3596" y="8999"/>
                </a:moveTo>
                <a:cubicBezTo>
                  <a:pt x="3596" y="9759"/>
                  <a:pt x="3740" y="10465"/>
                  <a:pt x="4028" y="11117"/>
                </a:cubicBezTo>
                <a:cubicBezTo>
                  <a:pt x="4317" y="11770"/>
                  <a:pt x="4707" y="12337"/>
                  <a:pt x="5193" y="12820"/>
                </a:cubicBezTo>
                <a:cubicBezTo>
                  <a:pt x="5679" y="13300"/>
                  <a:pt x="6252" y="13684"/>
                  <a:pt x="6908" y="13969"/>
                </a:cubicBezTo>
                <a:cubicBezTo>
                  <a:pt x="7566" y="14252"/>
                  <a:pt x="8264" y="14393"/>
                  <a:pt x="9004" y="14393"/>
                </a:cubicBezTo>
                <a:cubicBezTo>
                  <a:pt x="9744" y="14393"/>
                  <a:pt x="10439" y="14252"/>
                  <a:pt x="11092" y="13969"/>
                </a:cubicBezTo>
                <a:cubicBezTo>
                  <a:pt x="11745" y="13684"/>
                  <a:pt x="12318" y="13300"/>
                  <a:pt x="12801" y="12820"/>
                </a:cubicBezTo>
                <a:cubicBezTo>
                  <a:pt x="13290" y="12337"/>
                  <a:pt x="13677" y="11770"/>
                  <a:pt x="13965" y="11117"/>
                </a:cubicBezTo>
                <a:cubicBezTo>
                  <a:pt x="14254" y="10465"/>
                  <a:pt x="14398" y="9759"/>
                  <a:pt x="14398" y="8999"/>
                </a:cubicBezTo>
                <a:cubicBezTo>
                  <a:pt x="14398" y="8259"/>
                  <a:pt x="14254" y="7565"/>
                  <a:pt x="13965" y="6912"/>
                </a:cubicBezTo>
                <a:cubicBezTo>
                  <a:pt x="13674" y="6257"/>
                  <a:pt x="13290" y="5684"/>
                  <a:pt x="12801" y="5192"/>
                </a:cubicBezTo>
                <a:cubicBezTo>
                  <a:pt x="12315" y="4704"/>
                  <a:pt x="11745" y="4317"/>
                  <a:pt x="11092" y="4032"/>
                </a:cubicBezTo>
                <a:cubicBezTo>
                  <a:pt x="10439" y="3749"/>
                  <a:pt x="9741" y="3605"/>
                  <a:pt x="9004" y="3605"/>
                </a:cubicBezTo>
                <a:cubicBezTo>
                  <a:pt x="8267" y="3605"/>
                  <a:pt x="7566" y="3749"/>
                  <a:pt x="6908" y="4032"/>
                </a:cubicBezTo>
                <a:cubicBezTo>
                  <a:pt x="6252" y="4317"/>
                  <a:pt x="5676" y="4704"/>
                  <a:pt x="5193" y="5192"/>
                </a:cubicBezTo>
                <a:cubicBezTo>
                  <a:pt x="4707" y="5684"/>
                  <a:pt x="4317" y="6257"/>
                  <a:pt x="4028" y="6912"/>
                </a:cubicBezTo>
                <a:cubicBezTo>
                  <a:pt x="3740" y="7565"/>
                  <a:pt x="3596" y="8256"/>
                  <a:pt x="3596" y="8999"/>
                </a:cubicBezTo>
                <a:moveTo>
                  <a:pt x="9007" y="5591"/>
                </a:moveTo>
                <a:cubicBezTo>
                  <a:pt x="9185" y="5591"/>
                  <a:pt x="9343" y="5656"/>
                  <a:pt x="9473" y="5785"/>
                </a:cubicBezTo>
                <a:cubicBezTo>
                  <a:pt x="9603" y="5918"/>
                  <a:pt x="9668" y="6082"/>
                  <a:pt x="9668" y="6279"/>
                </a:cubicBezTo>
                <a:cubicBezTo>
                  <a:pt x="9668" y="6460"/>
                  <a:pt x="9603" y="6616"/>
                  <a:pt x="9473" y="6745"/>
                </a:cubicBezTo>
                <a:cubicBezTo>
                  <a:pt x="9343" y="6878"/>
                  <a:pt x="9185" y="6943"/>
                  <a:pt x="9007" y="6943"/>
                </a:cubicBezTo>
                <a:cubicBezTo>
                  <a:pt x="8439" y="6943"/>
                  <a:pt x="7953" y="7144"/>
                  <a:pt x="7552" y="7536"/>
                </a:cubicBezTo>
                <a:cubicBezTo>
                  <a:pt x="7151" y="7934"/>
                  <a:pt x="6950" y="8423"/>
                  <a:pt x="6950" y="8996"/>
                </a:cubicBezTo>
                <a:cubicBezTo>
                  <a:pt x="6950" y="9180"/>
                  <a:pt x="6885" y="9332"/>
                  <a:pt x="6755" y="9465"/>
                </a:cubicBezTo>
                <a:cubicBezTo>
                  <a:pt x="6622" y="9595"/>
                  <a:pt x="6467" y="9657"/>
                  <a:pt x="6289" y="9657"/>
                </a:cubicBezTo>
                <a:cubicBezTo>
                  <a:pt x="6080" y="9657"/>
                  <a:pt x="5913" y="9595"/>
                  <a:pt x="5786" y="9465"/>
                </a:cubicBezTo>
                <a:cubicBezTo>
                  <a:pt x="5659" y="9332"/>
                  <a:pt x="5599" y="9180"/>
                  <a:pt x="5599" y="8996"/>
                </a:cubicBezTo>
                <a:cubicBezTo>
                  <a:pt x="5599" y="8539"/>
                  <a:pt x="5684" y="8104"/>
                  <a:pt x="5862" y="7686"/>
                </a:cubicBezTo>
                <a:cubicBezTo>
                  <a:pt x="6037" y="7271"/>
                  <a:pt x="6280" y="6907"/>
                  <a:pt x="6597" y="6590"/>
                </a:cubicBezTo>
                <a:cubicBezTo>
                  <a:pt x="6905" y="6277"/>
                  <a:pt x="7264" y="6028"/>
                  <a:pt x="7676" y="5856"/>
                </a:cubicBezTo>
                <a:cubicBezTo>
                  <a:pt x="8086" y="5681"/>
                  <a:pt x="8529" y="5591"/>
                  <a:pt x="9007" y="5591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lIns="15998" tIns="15998" rIns="15998" bIns="15998" anchor="ctr"/>
          <a:lstStyle/>
          <a:p>
            <a:pPr defTabSz="143828">
              <a:defRPr/>
            </a:pPr>
            <a:endParaRPr lang="es-ES" sz="900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29" name="Freeform 429"/>
          <p:cNvSpPr>
            <a:spLocks noChangeArrowheads="1"/>
          </p:cNvSpPr>
          <p:nvPr/>
        </p:nvSpPr>
        <p:spPr bwMode="auto">
          <a:xfrm>
            <a:off x="4463230" y="4207517"/>
            <a:ext cx="222877" cy="309689"/>
          </a:xfrm>
          <a:custGeom>
            <a:avLst/>
            <a:gdLst>
              <a:gd name="T0" fmla="*/ 1162 w 1230"/>
              <a:gd name="T1" fmla="*/ 383 h 1221"/>
              <a:gd name="T2" fmla="*/ 1112 w 1230"/>
              <a:gd name="T3" fmla="*/ 433 h 1221"/>
              <a:gd name="T4" fmla="*/ 794 w 1230"/>
              <a:gd name="T5" fmla="*/ 116 h 1221"/>
              <a:gd name="T6" fmla="*/ 844 w 1230"/>
              <a:gd name="T7" fmla="*/ 57 h 1221"/>
              <a:gd name="T8" fmla="*/ 1061 w 1230"/>
              <a:gd name="T9" fmla="*/ 57 h 1221"/>
              <a:gd name="T10" fmla="*/ 1162 w 1230"/>
              <a:gd name="T11" fmla="*/ 166 h 1221"/>
              <a:gd name="T12" fmla="*/ 1162 w 1230"/>
              <a:gd name="T13" fmla="*/ 383 h 1221"/>
              <a:gd name="T14" fmla="*/ 418 w 1230"/>
              <a:gd name="T15" fmla="*/ 1019 h 1221"/>
              <a:gd name="T16" fmla="*/ 418 w 1230"/>
              <a:gd name="T17" fmla="*/ 1077 h 1221"/>
              <a:gd name="T18" fmla="*/ 468 w 1230"/>
              <a:gd name="T19" fmla="*/ 1077 h 1221"/>
              <a:gd name="T20" fmla="*/ 1061 w 1230"/>
              <a:gd name="T21" fmla="*/ 484 h 1221"/>
              <a:gd name="T22" fmla="*/ 1003 w 1230"/>
              <a:gd name="T23" fmla="*/ 433 h 1221"/>
              <a:gd name="T24" fmla="*/ 418 w 1230"/>
              <a:gd name="T25" fmla="*/ 1019 h 1221"/>
              <a:gd name="T26" fmla="*/ 150 w 1230"/>
              <a:gd name="T27" fmla="*/ 751 h 1221"/>
              <a:gd name="T28" fmla="*/ 150 w 1230"/>
              <a:gd name="T29" fmla="*/ 810 h 1221"/>
              <a:gd name="T30" fmla="*/ 209 w 1230"/>
              <a:gd name="T31" fmla="*/ 810 h 1221"/>
              <a:gd name="T32" fmla="*/ 794 w 1230"/>
              <a:gd name="T33" fmla="*/ 216 h 1221"/>
              <a:gd name="T34" fmla="*/ 735 w 1230"/>
              <a:gd name="T35" fmla="*/ 166 h 1221"/>
              <a:gd name="T36" fmla="*/ 150 w 1230"/>
              <a:gd name="T37" fmla="*/ 751 h 1221"/>
              <a:gd name="T38" fmla="*/ 844 w 1230"/>
              <a:gd name="T39" fmla="*/ 275 h 1221"/>
              <a:gd name="T40" fmla="*/ 259 w 1230"/>
              <a:gd name="T41" fmla="*/ 860 h 1221"/>
              <a:gd name="T42" fmla="*/ 259 w 1230"/>
              <a:gd name="T43" fmla="*/ 969 h 1221"/>
              <a:gd name="T44" fmla="*/ 367 w 1230"/>
              <a:gd name="T45" fmla="*/ 969 h 1221"/>
              <a:gd name="T46" fmla="*/ 953 w 1230"/>
              <a:gd name="T47" fmla="*/ 383 h 1221"/>
              <a:gd name="T48" fmla="*/ 844 w 1230"/>
              <a:gd name="T49" fmla="*/ 275 h 1221"/>
              <a:gd name="T50" fmla="*/ 367 w 1230"/>
              <a:gd name="T51" fmla="*/ 1127 h 1221"/>
              <a:gd name="T52" fmla="*/ 334 w 1230"/>
              <a:gd name="T53" fmla="*/ 1061 h 1221"/>
              <a:gd name="T54" fmla="*/ 309 w 1230"/>
              <a:gd name="T55" fmla="*/ 1061 h 1221"/>
              <a:gd name="T56" fmla="*/ 209 w 1230"/>
              <a:gd name="T57" fmla="*/ 1019 h 1221"/>
              <a:gd name="T58" fmla="*/ 158 w 1230"/>
              <a:gd name="T59" fmla="*/ 910 h 1221"/>
              <a:gd name="T60" fmla="*/ 167 w 1230"/>
              <a:gd name="T61" fmla="*/ 893 h 1221"/>
              <a:gd name="T62" fmla="*/ 100 w 1230"/>
              <a:gd name="T63" fmla="*/ 860 h 1221"/>
              <a:gd name="T64" fmla="*/ 92 w 1230"/>
              <a:gd name="T65" fmla="*/ 852 h 1221"/>
              <a:gd name="T66" fmla="*/ 0 w 1230"/>
              <a:gd name="T67" fmla="*/ 1220 h 1221"/>
              <a:gd name="T68" fmla="*/ 367 w 1230"/>
              <a:gd name="T69" fmla="*/ 1127 h 1221"/>
              <a:gd name="T70" fmla="*/ 367 w 1230"/>
              <a:gd name="T71" fmla="*/ 1127 h 1221"/>
              <a:gd name="T72" fmla="*/ 367 w 1230"/>
              <a:gd name="T73" fmla="*/ 1127 h 1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30" h="1221">
                <a:moveTo>
                  <a:pt x="1162" y="383"/>
                </a:moveTo>
                <a:cubicBezTo>
                  <a:pt x="1112" y="433"/>
                  <a:pt x="1112" y="433"/>
                  <a:pt x="1112" y="433"/>
                </a:cubicBezTo>
                <a:cubicBezTo>
                  <a:pt x="794" y="116"/>
                  <a:pt x="794" y="116"/>
                  <a:pt x="794" y="116"/>
                </a:cubicBezTo>
                <a:cubicBezTo>
                  <a:pt x="844" y="57"/>
                  <a:pt x="844" y="57"/>
                  <a:pt x="844" y="57"/>
                </a:cubicBezTo>
                <a:cubicBezTo>
                  <a:pt x="903" y="0"/>
                  <a:pt x="1003" y="0"/>
                  <a:pt x="1061" y="57"/>
                </a:cubicBezTo>
                <a:cubicBezTo>
                  <a:pt x="1162" y="166"/>
                  <a:pt x="1162" y="166"/>
                  <a:pt x="1162" y="166"/>
                </a:cubicBezTo>
                <a:cubicBezTo>
                  <a:pt x="1229" y="225"/>
                  <a:pt x="1229" y="325"/>
                  <a:pt x="1162" y="383"/>
                </a:cubicBezTo>
                <a:close/>
                <a:moveTo>
                  <a:pt x="418" y="1019"/>
                </a:moveTo>
                <a:cubicBezTo>
                  <a:pt x="401" y="1035"/>
                  <a:pt x="401" y="1061"/>
                  <a:pt x="418" y="1077"/>
                </a:cubicBezTo>
                <a:cubicBezTo>
                  <a:pt x="434" y="1086"/>
                  <a:pt x="459" y="1086"/>
                  <a:pt x="468" y="1077"/>
                </a:cubicBezTo>
                <a:cubicBezTo>
                  <a:pt x="1061" y="484"/>
                  <a:pt x="1061" y="484"/>
                  <a:pt x="1061" y="484"/>
                </a:cubicBezTo>
                <a:cubicBezTo>
                  <a:pt x="1003" y="433"/>
                  <a:pt x="1003" y="433"/>
                  <a:pt x="1003" y="433"/>
                </a:cubicBezTo>
                <a:lnTo>
                  <a:pt x="418" y="1019"/>
                </a:lnTo>
                <a:close/>
                <a:moveTo>
                  <a:pt x="150" y="751"/>
                </a:moveTo>
                <a:cubicBezTo>
                  <a:pt x="133" y="768"/>
                  <a:pt x="133" y="793"/>
                  <a:pt x="150" y="810"/>
                </a:cubicBezTo>
                <a:cubicBezTo>
                  <a:pt x="167" y="818"/>
                  <a:pt x="192" y="818"/>
                  <a:pt x="209" y="810"/>
                </a:cubicBezTo>
                <a:cubicBezTo>
                  <a:pt x="794" y="216"/>
                  <a:pt x="794" y="216"/>
                  <a:pt x="794" y="216"/>
                </a:cubicBezTo>
                <a:cubicBezTo>
                  <a:pt x="735" y="166"/>
                  <a:pt x="735" y="166"/>
                  <a:pt x="735" y="166"/>
                </a:cubicBezTo>
                <a:lnTo>
                  <a:pt x="150" y="751"/>
                </a:lnTo>
                <a:close/>
                <a:moveTo>
                  <a:pt x="844" y="275"/>
                </a:moveTo>
                <a:cubicBezTo>
                  <a:pt x="259" y="860"/>
                  <a:pt x="259" y="860"/>
                  <a:pt x="259" y="860"/>
                </a:cubicBezTo>
                <a:cubicBezTo>
                  <a:pt x="225" y="893"/>
                  <a:pt x="225" y="935"/>
                  <a:pt x="259" y="969"/>
                </a:cubicBezTo>
                <a:cubicBezTo>
                  <a:pt x="284" y="994"/>
                  <a:pt x="334" y="994"/>
                  <a:pt x="367" y="969"/>
                </a:cubicBezTo>
                <a:cubicBezTo>
                  <a:pt x="953" y="383"/>
                  <a:pt x="953" y="383"/>
                  <a:pt x="953" y="383"/>
                </a:cubicBezTo>
                <a:lnTo>
                  <a:pt x="844" y="275"/>
                </a:lnTo>
                <a:close/>
                <a:moveTo>
                  <a:pt x="367" y="1127"/>
                </a:moveTo>
                <a:cubicBezTo>
                  <a:pt x="351" y="1111"/>
                  <a:pt x="343" y="1086"/>
                  <a:pt x="334" y="1061"/>
                </a:cubicBezTo>
                <a:cubicBezTo>
                  <a:pt x="326" y="1061"/>
                  <a:pt x="317" y="1061"/>
                  <a:pt x="309" y="1061"/>
                </a:cubicBezTo>
                <a:cubicBezTo>
                  <a:pt x="276" y="1061"/>
                  <a:pt x="234" y="1052"/>
                  <a:pt x="209" y="1019"/>
                </a:cubicBezTo>
                <a:cubicBezTo>
                  <a:pt x="175" y="994"/>
                  <a:pt x="158" y="952"/>
                  <a:pt x="158" y="910"/>
                </a:cubicBezTo>
                <a:cubicBezTo>
                  <a:pt x="158" y="910"/>
                  <a:pt x="158" y="902"/>
                  <a:pt x="167" y="893"/>
                </a:cubicBezTo>
                <a:cubicBezTo>
                  <a:pt x="142" y="885"/>
                  <a:pt x="117" y="877"/>
                  <a:pt x="100" y="860"/>
                </a:cubicBezTo>
                <a:lnTo>
                  <a:pt x="92" y="852"/>
                </a:lnTo>
                <a:cubicBezTo>
                  <a:pt x="0" y="1220"/>
                  <a:pt x="0" y="1220"/>
                  <a:pt x="0" y="1220"/>
                </a:cubicBezTo>
                <a:cubicBezTo>
                  <a:pt x="367" y="1127"/>
                  <a:pt x="367" y="1127"/>
                  <a:pt x="367" y="1127"/>
                </a:cubicBezTo>
                <a:close/>
                <a:moveTo>
                  <a:pt x="367" y="1127"/>
                </a:moveTo>
                <a:lnTo>
                  <a:pt x="367" y="112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wrap="none" lIns="51193" tIns="25596" rIns="51193" bIns="25596" anchor="ctr"/>
          <a:lstStyle/>
          <a:p>
            <a:pPr>
              <a:defRPr/>
            </a:pPr>
            <a:endParaRPr lang="en-US" dirty="0">
              <a:latin typeface="Open Sans Light"/>
              <a:ea typeface="SimSun" charset="0"/>
            </a:endParaRPr>
          </a:p>
        </p:txBody>
      </p:sp>
      <p:grpSp>
        <p:nvGrpSpPr>
          <p:cNvPr id="3" name="Group 293"/>
          <p:cNvGrpSpPr/>
          <p:nvPr/>
        </p:nvGrpSpPr>
        <p:grpSpPr>
          <a:xfrm>
            <a:off x="4471193" y="5863686"/>
            <a:ext cx="183947" cy="279619"/>
            <a:chOff x="4012009" y="1992971"/>
            <a:chExt cx="405446" cy="462180"/>
          </a:xfrm>
          <a:solidFill>
            <a:schemeClr val="bg1"/>
          </a:solidFill>
        </p:grpSpPr>
        <p:sp>
          <p:nvSpPr>
            <p:cNvPr id="31" name="Freeform 9"/>
            <p:cNvSpPr>
              <a:spLocks noEditPoints="1"/>
            </p:cNvSpPr>
            <p:nvPr/>
          </p:nvSpPr>
          <p:spPr bwMode="auto">
            <a:xfrm>
              <a:off x="4012009" y="1992971"/>
              <a:ext cx="405446" cy="462180"/>
            </a:xfrm>
            <a:custGeom>
              <a:avLst/>
              <a:gdLst>
                <a:gd name="T0" fmla="*/ 985 w 1340"/>
                <a:gd name="T1" fmla="*/ 48 h 1528"/>
                <a:gd name="T2" fmla="*/ 348 w 1340"/>
                <a:gd name="T3" fmla="*/ 100 h 1528"/>
                <a:gd name="T4" fmla="*/ 114 w 1340"/>
                <a:gd name="T5" fmla="*/ 402 h 1528"/>
                <a:gd name="T6" fmla="*/ 115 w 1340"/>
                <a:gd name="T7" fmla="*/ 590 h 1528"/>
                <a:gd name="T8" fmla="*/ 119 w 1340"/>
                <a:gd name="T9" fmla="*/ 607 h 1528"/>
                <a:gd name="T10" fmla="*/ 66 w 1340"/>
                <a:gd name="T11" fmla="*/ 692 h 1528"/>
                <a:gd name="T12" fmla="*/ 24 w 1340"/>
                <a:gd name="T13" fmla="*/ 752 h 1528"/>
                <a:gd name="T14" fmla="*/ 23 w 1340"/>
                <a:gd name="T15" fmla="*/ 753 h 1528"/>
                <a:gd name="T16" fmla="*/ 61 w 1340"/>
                <a:gd name="T17" fmla="*/ 922 h 1528"/>
                <a:gd name="T18" fmla="*/ 84 w 1340"/>
                <a:gd name="T19" fmla="*/ 1001 h 1528"/>
                <a:gd name="T20" fmla="*/ 127 w 1340"/>
                <a:gd name="T21" fmla="*/ 1107 h 1528"/>
                <a:gd name="T22" fmla="*/ 126 w 1340"/>
                <a:gd name="T23" fmla="*/ 1183 h 1528"/>
                <a:gd name="T24" fmla="*/ 288 w 1340"/>
                <a:gd name="T25" fmla="*/ 1319 h 1528"/>
                <a:gd name="T26" fmla="*/ 416 w 1340"/>
                <a:gd name="T27" fmla="*/ 1415 h 1528"/>
                <a:gd name="T28" fmla="*/ 1053 w 1340"/>
                <a:gd name="T29" fmla="*/ 1528 h 1528"/>
                <a:gd name="T30" fmla="*/ 1170 w 1340"/>
                <a:gd name="T31" fmla="*/ 1389 h 1528"/>
                <a:gd name="T32" fmla="*/ 1132 w 1340"/>
                <a:gd name="T33" fmla="*/ 1086 h 1528"/>
                <a:gd name="T34" fmla="*/ 1324 w 1340"/>
                <a:gd name="T35" fmla="*/ 711 h 1528"/>
                <a:gd name="T36" fmla="*/ 1204 w 1340"/>
                <a:gd name="T37" fmla="*/ 201 h 1528"/>
                <a:gd name="T38" fmla="*/ 1069 w 1340"/>
                <a:gd name="T39" fmla="*/ 1033 h 1528"/>
                <a:gd name="T40" fmla="*/ 1089 w 1340"/>
                <a:gd name="T41" fmla="*/ 1403 h 1528"/>
                <a:gd name="T42" fmla="*/ 1053 w 1340"/>
                <a:gd name="T43" fmla="*/ 1445 h 1528"/>
                <a:gd name="T44" fmla="*/ 498 w 1340"/>
                <a:gd name="T45" fmla="*/ 1411 h 1528"/>
                <a:gd name="T46" fmla="*/ 443 w 1340"/>
                <a:gd name="T47" fmla="*/ 1203 h 1528"/>
                <a:gd name="T48" fmla="*/ 288 w 1340"/>
                <a:gd name="T49" fmla="*/ 1236 h 1528"/>
                <a:gd name="T50" fmla="*/ 172 w 1340"/>
                <a:gd name="T51" fmla="*/ 1030 h 1528"/>
                <a:gd name="T52" fmla="*/ 187 w 1340"/>
                <a:gd name="T53" fmla="*/ 969 h 1528"/>
                <a:gd name="T54" fmla="*/ 146 w 1340"/>
                <a:gd name="T55" fmla="*/ 947 h 1528"/>
                <a:gd name="T56" fmla="*/ 160 w 1340"/>
                <a:gd name="T57" fmla="*/ 884 h 1528"/>
                <a:gd name="T58" fmla="*/ 111 w 1340"/>
                <a:gd name="T59" fmla="*/ 855 h 1528"/>
                <a:gd name="T60" fmla="*/ 93 w 1340"/>
                <a:gd name="T61" fmla="*/ 797 h 1528"/>
                <a:gd name="T62" fmla="*/ 190 w 1340"/>
                <a:gd name="T63" fmla="*/ 650 h 1528"/>
                <a:gd name="T64" fmla="*/ 195 w 1340"/>
                <a:gd name="T65" fmla="*/ 572 h 1528"/>
                <a:gd name="T66" fmla="*/ 194 w 1340"/>
                <a:gd name="T67" fmla="*/ 422 h 1528"/>
                <a:gd name="T68" fmla="*/ 1243 w 1340"/>
                <a:gd name="T69" fmla="*/ 699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0" h="1528">
                  <a:moveTo>
                    <a:pt x="1204" y="201"/>
                  </a:moveTo>
                  <a:cubicBezTo>
                    <a:pt x="1146" y="134"/>
                    <a:pt x="1073" y="83"/>
                    <a:pt x="985" y="48"/>
                  </a:cubicBezTo>
                  <a:cubicBezTo>
                    <a:pt x="906" y="17"/>
                    <a:pt x="816" y="0"/>
                    <a:pt x="725" y="0"/>
                  </a:cubicBezTo>
                  <a:cubicBezTo>
                    <a:pt x="589" y="0"/>
                    <a:pt x="456" y="36"/>
                    <a:pt x="348" y="100"/>
                  </a:cubicBezTo>
                  <a:cubicBezTo>
                    <a:pt x="290" y="135"/>
                    <a:pt x="241" y="177"/>
                    <a:pt x="202" y="226"/>
                  </a:cubicBezTo>
                  <a:cubicBezTo>
                    <a:pt x="160" y="279"/>
                    <a:pt x="130" y="338"/>
                    <a:pt x="114" y="402"/>
                  </a:cubicBezTo>
                  <a:cubicBezTo>
                    <a:pt x="100" y="457"/>
                    <a:pt x="99" y="521"/>
                    <a:pt x="111" y="572"/>
                  </a:cubicBezTo>
                  <a:cubicBezTo>
                    <a:pt x="115" y="590"/>
                    <a:pt x="115" y="590"/>
                    <a:pt x="115" y="590"/>
                  </a:cubicBezTo>
                  <a:cubicBezTo>
                    <a:pt x="116" y="595"/>
                    <a:pt x="117" y="600"/>
                    <a:pt x="118" y="604"/>
                  </a:cubicBezTo>
                  <a:cubicBezTo>
                    <a:pt x="119" y="605"/>
                    <a:pt x="119" y="606"/>
                    <a:pt x="119" y="607"/>
                  </a:cubicBezTo>
                  <a:cubicBezTo>
                    <a:pt x="116" y="614"/>
                    <a:pt x="116" y="614"/>
                    <a:pt x="116" y="614"/>
                  </a:cubicBezTo>
                  <a:cubicBezTo>
                    <a:pt x="103" y="640"/>
                    <a:pt x="85" y="665"/>
                    <a:pt x="66" y="692"/>
                  </a:cubicBezTo>
                  <a:cubicBezTo>
                    <a:pt x="52" y="711"/>
                    <a:pt x="37" y="730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4" y="752"/>
                    <a:pt x="24" y="752"/>
                    <a:pt x="24" y="752"/>
                  </a:cubicBezTo>
                  <a:cubicBezTo>
                    <a:pt x="23" y="753"/>
                    <a:pt x="23" y="753"/>
                    <a:pt x="23" y="753"/>
                  </a:cubicBezTo>
                  <a:cubicBezTo>
                    <a:pt x="4" y="783"/>
                    <a:pt x="0" y="820"/>
                    <a:pt x="10" y="854"/>
                  </a:cubicBezTo>
                  <a:cubicBezTo>
                    <a:pt x="18" y="882"/>
                    <a:pt x="37" y="906"/>
                    <a:pt x="61" y="922"/>
                  </a:cubicBezTo>
                  <a:cubicBezTo>
                    <a:pt x="59" y="943"/>
                    <a:pt x="63" y="964"/>
                    <a:pt x="73" y="983"/>
                  </a:cubicBezTo>
                  <a:cubicBezTo>
                    <a:pt x="76" y="989"/>
                    <a:pt x="80" y="995"/>
                    <a:pt x="84" y="1001"/>
                  </a:cubicBezTo>
                  <a:cubicBezTo>
                    <a:pt x="82" y="1028"/>
                    <a:pt x="89" y="1056"/>
                    <a:pt x="106" y="1078"/>
                  </a:cubicBezTo>
                  <a:cubicBezTo>
                    <a:pt x="127" y="1107"/>
                    <a:pt x="127" y="1107"/>
                    <a:pt x="127" y="1107"/>
                  </a:cubicBezTo>
                  <a:cubicBezTo>
                    <a:pt x="127" y="1111"/>
                    <a:pt x="126" y="1116"/>
                    <a:pt x="126" y="1120"/>
                  </a:cubicBezTo>
                  <a:cubicBezTo>
                    <a:pt x="125" y="1138"/>
                    <a:pt x="124" y="1160"/>
                    <a:pt x="126" y="1183"/>
                  </a:cubicBezTo>
                  <a:cubicBezTo>
                    <a:pt x="131" y="1219"/>
                    <a:pt x="144" y="1249"/>
                    <a:pt x="165" y="1272"/>
                  </a:cubicBezTo>
                  <a:cubicBezTo>
                    <a:pt x="194" y="1303"/>
                    <a:pt x="236" y="1319"/>
                    <a:pt x="288" y="1319"/>
                  </a:cubicBezTo>
                  <a:cubicBezTo>
                    <a:pt x="322" y="1319"/>
                    <a:pt x="361" y="1312"/>
                    <a:pt x="408" y="1299"/>
                  </a:cubicBezTo>
                  <a:cubicBezTo>
                    <a:pt x="411" y="1328"/>
                    <a:pt x="413" y="1367"/>
                    <a:pt x="416" y="1415"/>
                  </a:cubicBezTo>
                  <a:cubicBezTo>
                    <a:pt x="419" y="1478"/>
                    <a:pt x="471" y="1528"/>
                    <a:pt x="534" y="1528"/>
                  </a:cubicBezTo>
                  <a:cubicBezTo>
                    <a:pt x="1053" y="1528"/>
                    <a:pt x="1053" y="1528"/>
                    <a:pt x="1053" y="1528"/>
                  </a:cubicBezTo>
                  <a:cubicBezTo>
                    <a:pt x="1088" y="1528"/>
                    <a:pt x="1121" y="1512"/>
                    <a:pt x="1144" y="1485"/>
                  </a:cubicBezTo>
                  <a:cubicBezTo>
                    <a:pt x="1166" y="1458"/>
                    <a:pt x="1176" y="1423"/>
                    <a:pt x="1170" y="1389"/>
                  </a:cubicBezTo>
                  <a:cubicBezTo>
                    <a:pt x="1122" y="1123"/>
                    <a:pt x="1122" y="1123"/>
                    <a:pt x="1122" y="1123"/>
                  </a:cubicBezTo>
                  <a:cubicBezTo>
                    <a:pt x="1120" y="1109"/>
                    <a:pt x="1123" y="1096"/>
                    <a:pt x="1132" y="1086"/>
                  </a:cubicBezTo>
                  <a:cubicBezTo>
                    <a:pt x="1170" y="1041"/>
                    <a:pt x="1214" y="987"/>
                    <a:pt x="1250" y="923"/>
                  </a:cubicBezTo>
                  <a:cubicBezTo>
                    <a:pt x="1289" y="855"/>
                    <a:pt x="1313" y="785"/>
                    <a:pt x="1324" y="711"/>
                  </a:cubicBezTo>
                  <a:cubicBezTo>
                    <a:pt x="1340" y="606"/>
                    <a:pt x="1337" y="508"/>
                    <a:pt x="1316" y="421"/>
                  </a:cubicBezTo>
                  <a:cubicBezTo>
                    <a:pt x="1295" y="337"/>
                    <a:pt x="1257" y="263"/>
                    <a:pt x="1204" y="201"/>
                  </a:cubicBezTo>
                  <a:close/>
                  <a:moveTo>
                    <a:pt x="1243" y="699"/>
                  </a:moveTo>
                  <a:cubicBezTo>
                    <a:pt x="1222" y="838"/>
                    <a:pt x="1149" y="938"/>
                    <a:pt x="1069" y="1033"/>
                  </a:cubicBezTo>
                  <a:cubicBezTo>
                    <a:pt x="1045" y="1062"/>
                    <a:pt x="1035" y="1100"/>
                    <a:pt x="1041" y="1137"/>
                  </a:cubicBezTo>
                  <a:cubicBezTo>
                    <a:pt x="1089" y="1403"/>
                    <a:pt x="1089" y="1403"/>
                    <a:pt x="1089" y="1403"/>
                  </a:cubicBezTo>
                  <a:cubicBezTo>
                    <a:pt x="1091" y="1414"/>
                    <a:pt x="1088" y="1424"/>
                    <a:pt x="1081" y="1433"/>
                  </a:cubicBezTo>
                  <a:cubicBezTo>
                    <a:pt x="1074" y="1441"/>
                    <a:pt x="1064" y="1445"/>
                    <a:pt x="1053" y="1445"/>
                  </a:cubicBezTo>
                  <a:cubicBezTo>
                    <a:pt x="534" y="1445"/>
                    <a:pt x="534" y="1445"/>
                    <a:pt x="534" y="1445"/>
                  </a:cubicBezTo>
                  <a:cubicBezTo>
                    <a:pt x="515" y="1445"/>
                    <a:pt x="499" y="1430"/>
                    <a:pt x="498" y="1411"/>
                  </a:cubicBezTo>
                  <a:cubicBezTo>
                    <a:pt x="493" y="1321"/>
                    <a:pt x="488" y="1266"/>
                    <a:pt x="485" y="1235"/>
                  </a:cubicBezTo>
                  <a:cubicBezTo>
                    <a:pt x="483" y="1220"/>
                    <a:pt x="464" y="1203"/>
                    <a:pt x="443" y="1203"/>
                  </a:cubicBezTo>
                  <a:cubicBezTo>
                    <a:pt x="439" y="1203"/>
                    <a:pt x="436" y="1204"/>
                    <a:pt x="432" y="1205"/>
                  </a:cubicBezTo>
                  <a:cubicBezTo>
                    <a:pt x="367" y="1227"/>
                    <a:pt x="321" y="1236"/>
                    <a:pt x="288" y="1236"/>
                  </a:cubicBezTo>
                  <a:cubicBezTo>
                    <a:pt x="162" y="1236"/>
                    <a:pt x="227" y="1105"/>
                    <a:pt x="203" y="1072"/>
                  </a:cubicBezTo>
                  <a:cubicBezTo>
                    <a:pt x="172" y="1030"/>
                    <a:pt x="172" y="1030"/>
                    <a:pt x="172" y="1030"/>
                  </a:cubicBezTo>
                  <a:cubicBezTo>
                    <a:pt x="164" y="1019"/>
                    <a:pt x="163" y="1005"/>
                    <a:pt x="171" y="994"/>
                  </a:cubicBezTo>
                  <a:cubicBezTo>
                    <a:pt x="187" y="969"/>
                    <a:pt x="187" y="969"/>
                    <a:pt x="187" y="969"/>
                  </a:cubicBezTo>
                  <a:cubicBezTo>
                    <a:pt x="166" y="963"/>
                    <a:pt x="166" y="963"/>
                    <a:pt x="166" y="963"/>
                  </a:cubicBezTo>
                  <a:cubicBezTo>
                    <a:pt x="158" y="961"/>
                    <a:pt x="150" y="955"/>
                    <a:pt x="146" y="947"/>
                  </a:cubicBezTo>
                  <a:cubicBezTo>
                    <a:pt x="142" y="939"/>
                    <a:pt x="142" y="929"/>
                    <a:pt x="145" y="921"/>
                  </a:cubicBezTo>
                  <a:cubicBezTo>
                    <a:pt x="160" y="884"/>
                    <a:pt x="160" y="884"/>
                    <a:pt x="160" y="884"/>
                  </a:cubicBezTo>
                  <a:cubicBezTo>
                    <a:pt x="161" y="881"/>
                    <a:pt x="160" y="877"/>
                    <a:pt x="156" y="876"/>
                  </a:cubicBezTo>
                  <a:cubicBezTo>
                    <a:pt x="111" y="855"/>
                    <a:pt x="111" y="855"/>
                    <a:pt x="111" y="855"/>
                  </a:cubicBezTo>
                  <a:cubicBezTo>
                    <a:pt x="100" y="850"/>
                    <a:pt x="92" y="841"/>
                    <a:pt x="89" y="830"/>
                  </a:cubicBezTo>
                  <a:cubicBezTo>
                    <a:pt x="85" y="819"/>
                    <a:pt x="87" y="807"/>
                    <a:pt x="93" y="797"/>
                  </a:cubicBezTo>
                  <a:cubicBezTo>
                    <a:pt x="94" y="796"/>
                    <a:pt x="94" y="796"/>
                    <a:pt x="94" y="796"/>
                  </a:cubicBezTo>
                  <a:cubicBezTo>
                    <a:pt x="124" y="746"/>
                    <a:pt x="164" y="702"/>
                    <a:pt x="190" y="650"/>
                  </a:cubicBezTo>
                  <a:cubicBezTo>
                    <a:pt x="201" y="628"/>
                    <a:pt x="201" y="628"/>
                    <a:pt x="201" y="628"/>
                  </a:cubicBezTo>
                  <a:cubicBezTo>
                    <a:pt x="208" y="613"/>
                    <a:pt x="199" y="589"/>
                    <a:pt x="195" y="572"/>
                  </a:cubicBezTo>
                  <a:cubicBezTo>
                    <a:pt x="191" y="553"/>
                    <a:pt x="191" y="553"/>
                    <a:pt x="191" y="553"/>
                  </a:cubicBezTo>
                  <a:cubicBezTo>
                    <a:pt x="182" y="513"/>
                    <a:pt x="184" y="463"/>
                    <a:pt x="194" y="422"/>
                  </a:cubicBezTo>
                  <a:cubicBezTo>
                    <a:pt x="248" y="205"/>
                    <a:pt x="487" y="82"/>
                    <a:pt x="725" y="82"/>
                  </a:cubicBezTo>
                  <a:cubicBezTo>
                    <a:pt x="1018" y="82"/>
                    <a:pt x="1308" y="270"/>
                    <a:pt x="1243" y="69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4086667" y="2049085"/>
              <a:ext cx="286227" cy="232944"/>
            </a:xfrm>
            <a:custGeom>
              <a:avLst/>
              <a:gdLst>
                <a:gd name="T0" fmla="*/ 626 w 946"/>
                <a:gd name="T1" fmla="*/ 35 h 770"/>
                <a:gd name="T2" fmla="*/ 554 w 946"/>
                <a:gd name="T3" fmla="*/ 8 h 770"/>
                <a:gd name="T4" fmla="*/ 508 w 946"/>
                <a:gd name="T5" fmla="*/ 18 h 770"/>
                <a:gd name="T6" fmla="*/ 456 w 946"/>
                <a:gd name="T7" fmla="*/ 0 h 770"/>
                <a:gd name="T8" fmla="*/ 414 w 946"/>
                <a:gd name="T9" fmla="*/ 12 h 770"/>
                <a:gd name="T10" fmla="*/ 381 w 946"/>
                <a:gd name="T11" fmla="*/ 8 h 770"/>
                <a:gd name="T12" fmla="*/ 287 w 946"/>
                <a:gd name="T13" fmla="*/ 41 h 770"/>
                <a:gd name="T14" fmla="*/ 278 w 946"/>
                <a:gd name="T15" fmla="*/ 40 h 770"/>
                <a:gd name="T16" fmla="*/ 163 w 946"/>
                <a:gd name="T17" fmla="*/ 92 h 770"/>
                <a:gd name="T18" fmla="*/ 64 w 946"/>
                <a:gd name="T19" fmla="*/ 209 h 770"/>
                <a:gd name="T20" fmla="*/ 25 w 946"/>
                <a:gd name="T21" fmla="*/ 266 h 770"/>
                <a:gd name="T22" fmla="*/ 26 w 946"/>
                <a:gd name="T23" fmla="*/ 274 h 770"/>
                <a:gd name="T24" fmla="*/ 0 w 946"/>
                <a:gd name="T25" fmla="*/ 357 h 770"/>
                <a:gd name="T26" fmla="*/ 67 w 946"/>
                <a:gd name="T27" fmla="*/ 480 h 770"/>
                <a:gd name="T28" fmla="*/ 176 w 946"/>
                <a:gd name="T29" fmla="*/ 558 h 770"/>
                <a:gd name="T30" fmla="*/ 231 w 946"/>
                <a:gd name="T31" fmla="*/ 544 h 770"/>
                <a:gd name="T32" fmla="*/ 301 w 946"/>
                <a:gd name="T33" fmla="*/ 587 h 770"/>
                <a:gd name="T34" fmla="*/ 443 w 946"/>
                <a:gd name="T35" fmla="*/ 687 h 770"/>
                <a:gd name="T36" fmla="*/ 504 w 946"/>
                <a:gd name="T37" fmla="*/ 674 h 770"/>
                <a:gd name="T38" fmla="*/ 667 w 946"/>
                <a:gd name="T39" fmla="*/ 770 h 770"/>
                <a:gd name="T40" fmla="*/ 840 w 946"/>
                <a:gd name="T41" fmla="*/ 652 h 770"/>
                <a:gd name="T42" fmla="*/ 936 w 946"/>
                <a:gd name="T43" fmla="*/ 489 h 770"/>
                <a:gd name="T44" fmla="*/ 933 w 946"/>
                <a:gd name="T45" fmla="*/ 456 h 770"/>
                <a:gd name="T46" fmla="*/ 946 w 946"/>
                <a:gd name="T47" fmla="*/ 400 h 770"/>
                <a:gd name="T48" fmla="*/ 914 w 946"/>
                <a:gd name="T49" fmla="*/ 316 h 770"/>
                <a:gd name="T50" fmla="*/ 916 w 946"/>
                <a:gd name="T51" fmla="*/ 297 h 770"/>
                <a:gd name="T52" fmla="*/ 840 w 946"/>
                <a:gd name="T53" fmla="*/ 181 h 770"/>
                <a:gd name="T54" fmla="*/ 626 w 946"/>
                <a:gd name="T55" fmla="*/ 35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770">
                  <a:moveTo>
                    <a:pt x="626" y="35"/>
                  </a:moveTo>
                  <a:cubicBezTo>
                    <a:pt x="607" y="18"/>
                    <a:pt x="581" y="8"/>
                    <a:pt x="554" y="8"/>
                  </a:cubicBezTo>
                  <a:cubicBezTo>
                    <a:pt x="537" y="8"/>
                    <a:pt x="522" y="12"/>
                    <a:pt x="508" y="18"/>
                  </a:cubicBezTo>
                  <a:cubicBezTo>
                    <a:pt x="493" y="7"/>
                    <a:pt x="475" y="0"/>
                    <a:pt x="456" y="0"/>
                  </a:cubicBezTo>
                  <a:cubicBezTo>
                    <a:pt x="441" y="0"/>
                    <a:pt x="426" y="5"/>
                    <a:pt x="414" y="12"/>
                  </a:cubicBezTo>
                  <a:cubicBezTo>
                    <a:pt x="403" y="9"/>
                    <a:pt x="392" y="8"/>
                    <a:pt x="381" y="8"/>
                  </a:cubicBezTo>
                  <a:cubicBezTo>
                    <a:pt x="345" y="8"/>
                    <a:pt x="313" y="20"/>
                    <a:pt x="287" y="41"/>
                  </a:cubicBezTo>
                  <a:cubicBezTo>
                    <a:pt x="284" y="40"/>
                    <a:pt x="281" y="40"/>
                    <a:pt x="278" y="40"/>
                  </a:cubicBezTo>
                  <a:cubicBezTo>
                    <a:pt x="232" y="40"/>
                    <a:pt x="191" y="60"/>
                    <a:pt x="163" y="92"/>
                  </a:cubicBezTo>
                  <a:cubicBezTo>
                    <a:pt x="108" y="103"/>
                    <a:pt x="65" y="151"/>
                    <a:pt x="64" y="209"/>
                  </a:cubicBezTo>
                  <a:cubicBezTo>
                    <a:pt x="41" y="218"/>
                    <a:pt x="25" y="240"/>
                    <a:pt x="25" y="266"/>
                  </a:cubicBezTo>
                  <a:cubicBezTo>
                    <a:pt x="25" y="269"/>
                    <a:pt x="25" y="272"/>
                    <a:pt x="26" y="274"/>
                  </a:cubicBezTo>
                  <a:cubicBezTo>
                    <a:pt x="9" y="298"/>
                    <a:pt x="0" y="327"/>
                    <a:pt x="0" y="357"/>
                  </a:cubicBezTo>
                  <a:cubicBezTo>
                    <a:pt x="0" y="409"/>
                    <a:pt x="26" y="454"/>
                    <a:pt x="67" y="480"/>
                  </a:cubicBezTo>
                  <a:cubicBezTo>
                    <a:pt x="82" y="525"/>
                    <a:pt x="125" y="558"/>
                    <a:pt x="176" y="558"/>
                  </a:cubicBezTo>
                  <a:cubicBezTo>
                    <a:pt x="196" y="558"/>
                    <a:pt x="215" y="553"/>
                    <a:pt x="231" y="544"/>
                  </a:cubicBezTo>
                  <a:cubicBezTo>
                    <a:pt x="248" y="566"/>
                    <a:pt x="273" y="582"/>
                    <a:pt x="301" y="587"/>
                  </a:cubicBezTo>
                  <a:cubicBezTo>
                    <a:pt x="322" y="645"/>
                    <a:pt x="378" y="687"/>
                    <a:pt x="443" y="687"/>
                  </a:cubicBezTo>
                  <a:cubicBezTo>
                    <a:pt x="465" y="687"/>
                    <a:pt x="486" y="682"/>
                    <a:pt x="504" y="674"/>
                  </a:cubicBezTo>
                  <a:cubicBezTo>
                    <a:pt x="536" y="731"/>
                    <a:pt x="597" y="770"/>
                    <a:pt x="667" y="770"/>
                  </a:cubicBezTo>
                  <a:cubicBezTo>
                    <a:pt x="746" y="770"/>
                    <a:pt x="813" y="721"/>
                    <a:pt x="840" y="652"/>
                  </a:cubicBezTo>
                  <a:cubicBezTo>
                    <a:pt x="897" y="620"/>
                    <a:pt x="936" y="559"/>
                    <a:pt x="936" y="489"/>
                  </a:cubicBezTo>
                  <a:cubicBezTo>
                    <a:pt x="936" y="478"/>
                    <a:pt x="935" y="466"/>
                    <a:pt x="933" y="456"/>
                  </a:cubicBezTo>
                  <a:cubicBezTo>
                    <a:pt x="941" y="439"/>
                    <a:pt x="946" y="420"/>
                    <a:pt x="946" y="400"/>
                  </a:cubicBezTo>
                  <a:cubicBezTo>
                    <a:pt x="946" y="368"/>
                    <a:pt x="934" y="339"/>
                    <a:pt x="914" y="316"/>
                  </a:cubicBezTo>
                  <a:cubicBezTo>
                    <a:pt x="915" y="310"/>
                    <a:pt x="916" y="303"/>
                    <a:pt x="916" y="297"/>
                  </a:cubicBezTo>
                  <a:cubicBezTo>
                    <a:pt x="916" y="245"/>
                    <a:pt x="885" y="200"/>
                    <a:pt x="840" y="181"/>
                  </a:cubicBezTo>
                  <a:cubicBezTo>
                    <a:pt x="805" y="97"/>
                    <a:pt x="722" y="37"/>
                    <a:pt x="626" y="3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>
                <a:latin typeface="Open Sans Light"/>
              </a:endParaRPr>
            </a:p>
          </p:txBody>
        </p:sp>
      </p:grpSp>
      <p:sp>
        <p:nvSpPr>
          <p:cNvPr id="33" name="AutoShape 133"/>
          <p:cNvSpPr>
            <a:spLocks/>
          </p:cNvSpPr>
          <p:nvPr/>
        </p:nvSpPr>
        <p:spPr bwMode="auto">
          <a:xfrm>
            <a:off x="4480934" y="2584481"/>
            <a:ext cx="186521" cy="24157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788" y="0"/>
                </a:moveTo>
                <a:cubicBezTo>
                  <a:pt x="11055" y="0"/>
                  <a:pt x="11283" y="97"/>
                  <a:pt x="11476" y="293"/>
                </a:cubicBezTo>
                <a:cubicBezTo>
                  <a:pt x="11667" y="495"/>
                  <a:pt x="11830" y="714"/>
                  <a:pt x="11957" y="964"/>
                </a:cubicBezTo>
                <a:lnTo>
                  <a:pt x="21320" y="19313"/>
                </a:lnTo>
                <a:cubicBezTo>
                  <a:pt x="21401" y="19460"/>
                  <a:pt x="21470" y="19615"/>
                  <a:pt x="21518" y="19785"/>
                </a:cubicBezTo>
                <a:cubicBezTo>
                  <a:pt x="21574" y="19958"/>
                  <a:pt x="21599" y="20139"/>
                  <a:pt x="21599" y="20329"/>
                </a:cubicBezTo>
                <a:cubicBezTo>
                  <a:pt x="21599" y="20782"/>
                  <a:pt x="21445" y="21107"/>
                  <a:pt x="21137" y="21303"/>
                </a:cubicBezTo>
                <a:cubicBezTo>
                  <a:pt x="20830" y="21501"/>
                  <a:pt x="20500" y="21599"/>
                  <a:pt x="20152" y="21599"/>
                </a:cubicBezTo>
                <a:lnTo>
                  <a:pt x="1447" y="21599"/>
                </a:lnTo>
                <a:cubicBezTo>
                  <a:pt x="1099" y="21599"/>
                  <a:pt x="772" y="21502"/>
                  <a:pt x="462" y="21303"/>
                </a:cubicBezTo>
                <a:cubicBezTo>
                  <a:pt x="154" y="21107"/>
                  <a:pt x="0" y="20782"/>
                  <a:pt x="0" y="20329"/>
                </a:cubicBezTo>
                <a:cubicBezTo>
                  <a:pt x="0" y="20148"/>
                  <a:pt x="25" y="19967"/>
                  <a:pt x="71" y="19794"/>
                </a:cubicBezTo>
                <a:cubicBezTo>
                  <a:pt x="121" y="19618"/>
                  <a:pt x="190" y="19460"/>
                  <a:pt x="279" y="19313"/>
                </a:cubicBezTo>
                <a:lnTo>
                  <a:pt x="9620" y="964"/>
                </a:lnTo>
                <a:cubicBezTo>
                  <a:pt x="9749" y="714"/>
                  <a:pt x="9907" y="495"/>
                  <a:pt x="10097" y="293"/>
                </a:cubicBezTo>
                <a:cubicBezTo>
                  <a:pt x="10290" y="97"/>
                  <a:pt x="10519" y="0"/>
                  <a:pt x="10788" y="0"/>
                </a:cubicBezTo>
                <a:moveTo>
                  <a:pt x="11629" y="15452"/>
                </a:moveTo>
                <a:cubicBezTo>
                  <a:pt x="11741" y="15452"/>
                  <a:pt x="11840" y="15402"/>
                  <a:pt x="11926" y="15308"/>
                </a:cubicBezTo>
                <a:cubicBezTo>
                  <a:pt x="12010" y="15210"/>
                  <a:pt x="12053" y="15097"/>
                  <a:pt x="12053" y="14971"/>
                </a:cubicBezTo>
                <a:lnTo>
                  <a:pt x="12236" y="6243"/>
                </a:lnTo>
                <a:cubicBezTo>
                  <a:pt x="12236" y="6113"/>
                  <a:pt x="12190" y="6001"/>
                  <a:pt x="12106" y="5906"/>
                </a:cubicBezTo>
                <a:cubicBezTo>
                  <a:pt x="12023" y="5808"/>
                  <a:pt x="11924" y="5762"/>
                  <a:pt x="11809" y="5762"/>
                </a:cubicBezTo>
                <a:lnTo>
                  <a:pt x="9790" y="5762"/>
                </a:lnTo>
                <a:cubicBezTo>
                  <a:pt x="9663" y="5762"/>
                  <a:pt x="9553" y="5808"/>
                  <a:pt x="9480" y="5906"/>
                </a:cubicBezTo>
                <a:cubicBezTo>
                  <a:pt x="9404" y="6001"/>
                  <a:pt x="9366" y="6113"/>
                  <a:pt x="9366" y="6243"/>
                </a:cubicBezTo>
                <a:lnTo>
                  <a:pt x="9513" y="14971"/>
                </a:lnTo>
                <a:cubicBezTo>
                  <a:pt x="9513" y="15097"/>
                  <a:pt x="9556" y="15210"/>
                  <a:pt x="9640" y="15308"/>
                </a:cubicBezTo>
                <a:cubicBezTo>
                  <a:pt x="9724" y="15403"/>
                  <a:pt x="9823" y="15452"/>
                  <a:pt x="9937" y="15452"/>
                </a:cubicBezTo>
                <a:lnTo>
                  <a:pt x="11629" y="15452"/>
                </a:lnTo>
                <a:close/>
                <a:moveTo>
                  <a:pt x="12150" y="17257"/>
                </a:moveTo>
                <a:cubicBezTo>
                  <a:pt x="12150" y="17110"/>
                  <a:pt x="12114" y="16989"/>
                  <a:pt x="12040" y="16891"/>
                </a:cubicBezTo>
                <a:cubicBezTo>
                  <a:pt x="11969" y="16796"/>
                  <a:pt x="11868" y="16747"/>
                  <a:pt x="11738" y="16747"/>
                </a:cubicBezTo>
                <a:lnTo>
                  <a:pt x="9866" y="16747"/>
                </a:lnTo>
                <a:cubicBezTo>
                  <a:pt x="9752" y="16747"/>
                  <a:pt x="9653" y="16793"/>
                  <a:pt x="9569" y="16886"/>
                </a:cubicBezTo>
                <a:cubicBezTo>
                  <a:pt x="9482" y="16978"/>
                  <a:pt x="9439" y="17102"/>
                  <a:pt x="9439" y="17257"/>
                </a:cubicBezTo>
                <a:lnTo>
                  <a:pt x="9439" y="19284"/>
                </a:lnTo>
                <a:cubicBezTo>
                  <a:pt x="9439" y="19431"/>
                  <a:pt x="9482" y="19549"/>
                  <a:pt x="9569" y="19636"/>
                </a:cubicBezTo>
                <a:cubicBezTo>
                  <a:pt x="9653" y="19722"/>
                  <a:pt x="9752" y="19765"/>
                  <a:pt x="9866" y="19765"/>
                </a:cubicBezTo>
                <a:lnTo>
                  <a:pt x="11738" y="19765"/>
                </a:lnTo>
                <a:cubicBezTo>
                  <a:pt x="12020" y="19765"/>
                  <a:pt x="12160" y="19604"/>
                  <a:pt x="12150" y="19284"/>
                </a:cubicBezTo>
                <a:lnTo>
                  <a:pt x="12150" y="1725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lIns="15998" tIns="15998" rIns="15998" bIns="15998" anchor="ctr"/>
          <a:lstStyle/>
          <a:p>
            <a:pPr defTabSz="143828">
              <a:defRPr/>
            </a:pPr>
            <a:endParaRPr lang="es-ES" sz="900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charset="0"/>
              <a:cs typeface="Gill Sans" charset="0"/>
              <a:sym typeface="Gill Sans" charset="0"/>
            </a:endParaRPr>
          </a:p>
        </p:txBody>
      </p:sp>
      <p:sp>
        <p:nvSpPr>
          <p:cNvPr id="36" name="Espace réservé du pied de page 32"/>
          <p:cNvSpPr txBox="1">
            <a:spLocks/>
          </p:cNvSpPr>
          <p:nvPr/>
        </p:nvSpPr>
        <p:spPr>
          <a:xfrm>
            <a:off x="6228184" y="6464885"/>
            <a:ext cx="2762250" cy="24765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F28D56-03E5-41E0-835B-CE5610F766BA}" type="slidenum">
              <a:rPr kumimoji="0" lang="fr-B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BE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01847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50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  <p:bldP spid="11" grpId="0" animBg="1"/>
      <p:bldP spid="5" grpId="0" animBg="1"/>
      <p:bldP spid="21" grpId="0" animBg="1"/>
      <p:bldP spid="22" grpId="0" animBg="1"/>
      <p:bldP spid="24" grpId="0" animBg="1"/>
      <p:bldP spid="25" grpId="0" animBg="1"/>
      <p:bldP spid="34" grpId="0" animBg="1"/>
      <p:bldP spid="35" grpId="0" animBg="1"/>
      <p:bldP spid="42" grpId="0" animBg="1"/>
      <p:bldP spid="43" grpId="0"/>
      <p:bldP spid="44" grpId="0"/>
      <p:bldP spid="45" grpId="0"/>
      <p:bldP spid="47" grpId="0"/>
      <p:bldP spid="48" grpId="0"/>
      <p:bldP spid="27" grpId="0" animBg="1"/>
      <p:bldP spid="29" grpId="0" animBg="1"/>
      <p:bldP spid="3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ubtitle 2"/>
          <p:cNvSpPr txBox="1">
            <a:spLocks/>
          </p:cNvSpPr>
          <p:nvPr/>
        </p:nvSpPr>
        <p:spPr>
          <a:xfrm>
            <a:off x="571472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priété de limite d’activation ?</a:t>
            </a:r>
            <a:endParaRPr lang="fr-FR" sz="2000" b="1" dirty="0"/>
          </a:p>
        </p:txBody>
      </p:sp>
      <p:sp>
        <p:nvSpPr>
          <p:cNvPr id="39" name="Rectangle 38"/>
          <p:cNvSpPr/>
          <p:nvPr/>
        </p:nvSpPr>
        <p:spPr>
          <a:xfrm>
            <a:off x="4071934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2214546" y="2000240"/>
            <a:ext cx="5000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Besoin</a:t>
            </a:r>
            <a:r>
              <a:rPr lang="fr-FR" dirty="0" smtClean="0"/>
              <a:t> : Pouvoir limiter la chance de choisir un événement parmi d’autres</a:t>
            </a:r>
            <a:endParaRPr lang="fr-FR" dirty="0"/>
          </a:p>
        </p:txBody>
      </p:sp>
      <p:pic>
        <p:nvPicPr>
          <p:cNvPr id="53250" name="Picture 2" descr="RÃ©sultat de recherche d'images pour &quot;besoin client&quot;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24" y="1785926"/>
            <a:ext cx="979351" cy="854995"/>
          </a:xfrm>
          <a:prstGeom prst="rect">
            <a:avLst/>
          </a:prstGeom>
          <a:noFill/>
        </p:spPr>
      </p:pic>
      <p:pic>
        <p:nvPicPr>
          <p:cNvPr id="53254" name="Picture 6" descr="RÃ©sultat de recherche d'images pour &quot;modeliser industrie&quot;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57224" y="3357562"/>
            <a:ext cx="1217350" cy="1222373"/>
          </a:xfrm>
          <a:prstGeom prst="rect">
            <a:avLst/>
          </a:prstGeom>
          <a:noFill/>
        </p:spPr>
      </p:pic>
      <p:sp>
        <p:nvSpPr>
          <p:cNvPr id="17" name="ZoneTexte 16"/>
          <p:cNvSpPr txBox="1"/>
          <p:nvPr/>
        </p:nvSpPr>
        <p:spPr>
          <a:xfrm>
            <a:off x="2143108" y="3571876"/>
            <a:ext cx="6000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Modèle</a:t>
            </a:r>
            <a:r>
              <a:rPr lang="fr-FR" dirty="0" smtClean="0"/>
              <a:t> : - Signaler l’événement que l’on veut borner</a:t>
            </a:r>
          </a:p>
          <a:p>
            <a:r>
              <a:rPr lang="fr-FR" dirty="0" smtClean="0"/>
              <a:t>                - Indiquer la borne</a:t>
            </a:r>
            <a:endParaRPr lang="fr-FR" dirty="0"/>
          </a:p>
        </p:txBody>
      </p:sp>
      <p:pic>
        <p:nvPicPr>
          <p:cNvPr id="53256" name="Picture 8" descr="RÃ©sultat de recherche d'images pour &quot;objectif orangÃ©&quot;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5786" y="5072074"/>
            <a:ext cx="1286195" cy="1291811"/>
          </a:xfrm>
          <a:prstGeom prst="rect">
            <a:avLst/>
          </a:prstGeom>
          <a:noFill/>
        </p:spPr>
      </p:pic>
      <p:sp>
        <p:nvSpPr>
          <p:cNvPr id="19" name="ZoneTexte 18"/>
          <p:cNvSpPr txBox="1"/>
          <p:nvPr/>
        </p:nvSpPr>
        <p:spPr>
          <a:xfrm>
            <a:off x="2143076" y="5429264"/>
            <a:ext cx="7000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Objectif</a:t>
            </a:r>
            <a:r>
              <a:rPr lang="fr-FR" dirty="0" smtClean="0"/>
              <a:t>: - Probabilité d’activation de l’événement borné est limité</a:t>
            </a:r>
          </a:p>
          <a:p>
            <a:r>
              <a:rPr lang="fr-FR" dirty="0" smtClean="0"/>
              <a:t>               - Vérification par le moyen des obligations de preuv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2" name="Groupe 89"/>
          <p:cNvGrpSpPr/>
          <p:nvPr/>
        </p:nvGrpSpPr>
        <p:grpSpPr>
          <a:xfrm>
            <a:off x="154360" y="111475"/>
            <a:ext cx="8723523" cy="833226"/>
            <a:chOff x="191997" y="59449"/>
            <a:chExt cx="8723523" cy="833226"/>
          </a:xfrm>
        </p:grpSpPr>
        <p:sp>
          <p:nvSpPr>
            <p:cNvPr id="13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14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15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16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2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23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5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6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7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8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9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22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18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30" name="Rectangle 29"/>
          <p:cNvSpPr/>
          <p:nvPr/>
        </p:nvSpPr>
        <p:spPr bwMode="auto">
          <a:xfrm>
            <a:off x="285720" y="1571612"/>
            <a:ext cx="8643998" cy="1357322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285720" y="5000636"/>
            <a:ext cx="8643998" cy="1357322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285720" y="3357562"/>
            <a:ext cx="8643998" cy="1357322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943665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0" grpId="1"/>
      <p:bldP spid="17" grpId="0"/>
      <p:bldP spid="19" grpId="0"/>
      <p:bldP spid="30" grpId="0" animBg="1"/>
      <p:bldP spid="30" grpId="1" animBg="1"/>
      <p:bldP spid="31" grpId="0" animBg="1"/>
      <p:bldP spid="3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1</a:t>
            </a:fld>
            <a:endParaRPr lang="fr-BE" dirty="0"/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571472" y="100010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priété de limite d’activation 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42873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8" name="Subtitle 2"/>
          <p:cNvSpPr txBox="1">
            <a:spLocks/>
          </p:cNvSpPr>
          <p:nvPr/>
        </p:nvSpPr>
        <p:spPr>
          <a:xfrm>
            <a:off x="3428992" y="1428736"/>
            <a:ext cx="150019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Énoncé)</a:t>
            </a:r>
          </a:p>
          <a:p>
            <a:endParaRPr lang="fr-FR" sz="2000" b="1" dirty="0"/>
          </a:p>
        </p:txBody>
      </p:sp>
      <p:grpSp>
        <p:nvGrpSpPr>
          <p:cNvPr id="13" name="Groupe 89"/>
          <p:cNvGrpSpPr/>
          <p:nvPr/>
        </p:nvGrpSpPr>
        <p:grpSpPr>
          <a:xfrm>
            <a:off x="154360" y="111475"/>
            <a:ext cx="8723523" cy="833226"/>
            <a:chOff x="191997" y="59449"/>
            <a:chExt cx="8723523" cy="833226"/>
          </a:xfrm>
        </p:grpSpPr>
        <p:sp>
          <p:nvSpPr>
            <p:cNvPr id="14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15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16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18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2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24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6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7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28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0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1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23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19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53" name="Rectangle 52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54" name="Groupe 89"/>
          <p:cNvGrpSpPr/>
          <p:nvPr/>
        </p:nvGrpSpPr>
        <p:grpSpPr>
          <a:xfrm>
            <a:off x="214282" y="0"/>
            <a:ext cx="8723523" cy="833226"/>
            <a:chOff x="191997" y="59449"/>
            <a:chExt cx="8723523" cy="833226"/>
          </a:xfrm>
        </p:grpSpPr>
        <p:sp>
          <p:nvSpPr>
            <p:cNvPr id="55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56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57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58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6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63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5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6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7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8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69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62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59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sp>
        <p:nvSpPr>
          <p:cNvPr id="70" name="Rectangle 69"/>
          <p:cNvSpPr/>
          <p:nvPr/>
        </p:nvSpPr>
        <p:spPr bwMode="auto">
          <a:xfrm>
            <a:off x="0" y="2357430"/>
            <a:ext cx="9144000" cy="178595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5063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4608276"/>
            <a:ext cx="9144000" cy="91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1" name="Rectangle 70"/>
          <p:cNvSpPr/>
          <p:nvPr/>
        </p:nvSpPr>
        <p:spPr bwMode="auto">
          <a:xfrm>
            <a:off x="0" y="4572008"/>
            <a:ext cx="9144000" cy="1000132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575" y="2357430"/>
            <a:ext cx="9115425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2</a:t>
            </a:fld>
            <a:endParaRPr lang="fr-BE" dirty="0"/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500034" y="114298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priété de limite d’activation 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571612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8" name="Subtitle 2"/>
          <p:cNvSpPr txBox="1">
            <a:spLocks/>
          </p:cNvSpPr>
          <p:nvPr/>
        </p:nvSpPr>
        <p:spPr>
          <a:xfrm>
            <a:off x="500034" y="171448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Nouvelles notations : Ajout de la borne dans le modèle)</a:t>
            </a:r>
          </a:p>
          <a:p>
            <a:endParaRPr lang="fr-FR" sz="2000" b="1" dirty="0"/>
          </a:p>
        </p:txBody>
      </p:sp>
      <p:sp>
        <p:nvSpPr>
          <p:cNvPr id="42" name="Ellipse 41"/>
          <p:cNvSpPr/>
          <p:nvPr/>
        </p:nvSpPr>
        <p:spPr bwMode="auto">
          <a:xfrm>
            <a:off x="5286380" y="4000504"/>
            <a:ext cx="428628" cy="28575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7224" y="2143116"/>
            <a:ext cx="6858048" cy="428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43" name="Connecteur droit avec flèche 42"/>
          <p:cNvCxnSpPr/>
          <p:nvPr/>
        </p:nvCxnSpPr>
        <p:spPr bwMode="auto">
          <a:xfrm rot="10800000" flipV="1">
            <a:off x="2928926" y="5643578"/>
            <a:ext cx="857256" cy="35719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6" name="Groupe 89"/>
          <p:cNvGrpSpPr/>
          <p:nvPr/>
        </p:nvGrpSpPr>
        <p:grpSpPr>
          <a:xfrm>
            <a:off x="154360" y="111475"/>
            <a:ext cx="8723523" cy="833226"/>
            <a:chOff x="191997" y="59449"/>
            <a:chExt cx="8723523" cy="833226"/>
          </a:xfrm>
        </p:grpSpPr>
        <p:sp>
          <p:nvSpPr>
            <p:cNvPr id="39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40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1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44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48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50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2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3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4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5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6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49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45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3</a:t>
            </a:fld>
            <a:endParaRPr lang="fr-BE" dirty="0"/>
          </a:p>
        </p:txBody>
      </p:sp>
      <p:sp>
        <p:nvSpPr>
          <p:cNvPr id="22" name="Subtitle 2"/>
          <p:cNvSpPr txBox="1">
            <a:spLocks/>
          </p:cNvSpPr>
          <p:nvPr/>
        </p:nvSpPr>
        <p:spPr>
          <a:xfrm>
            <a:off x="500034" y="114298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priété de limite d’activation 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571612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8" name="Subtitle 2"/>
          <p:cNvSpPr txBox="1">
            <a:spLocks/>
          </p:cNvSpPr>
          <p:nvPr/>
        </p:nvSpPr>
        <p:spPr>
          <a:xfrm>
            <a:off x="500034" y="171448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Nouvelles notations : Indication de l’événement borné)</a:t>
            </a:r>
          </a:p>
          <a:p>
            <a:endParaRPr lang="fr-FR" sz="2000" b="1" dirty="0"/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8728" y="2428868"/>
            <a:ext cx="5715040" cy="3848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44" name="Connecteur droit 43"/>
          <p:cNvCxnSpPr/>
          <p:nvPr/>
        </p:nvCxnSpPr>
        <p:spPr bwMode="auto">
          <a:xfrm>
            <a:off x="1571604" y="2857496"/>
            <a:ext cx="1428760" cy="158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44"/>
          <p:cNvSpPr/>
          <p:nvPr/>
        </p:nvSpPr>
        <p:spPr bwMode="auto">
          <a:xfrm>
            <a:off x="1428728" y="5929330"/>
            <a:ext cx="857256" cy="3571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6" name="Groupe 89"/>
          <p:cNvGrpSpPr/>
          <p:nvPr/>
        </p:nvGrpSpPr>
        <p:grpSpPr>
          <a:xfrm>
            <a:off x="154360" y="111475"/>
            <a:ext cx="8723523" cy="833226"/>
            <a:chOff x="191997" y="59449"/>
            <a:chExt cx="8723523" cy="833226"/>
          </a:xfrm>
        </p:grpSpPr>
        <p:sp>
          <p:nvSpPr>
            <p:cNvPr id="39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40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1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42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48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50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2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3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4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5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6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49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43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3232806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4</a:t>
            </a:fld>
            <a:endParaRPr lang="fr-BE" dirty="0"/>
          </a:p>
        </p:txBody>
      </p:sp>
      <p:sp>
        <p:nvSpPr>
          <p:cNvPr id="27" name="Rectangle 26"/>
          <p:cNvSpPr/>
          <p:nvPr/>
        </p:nvSpPr>
        <p:spPr>
          <a:xfrm>
            <a:off x="4071934" y="1714488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9" name="Subtitle 2"/>
          <p:cNvSpPr txBox="1">
            <a:spLocks/>
          </p:cNvSpPr>
          <p:nvPr/>
        </p:nvSpPr>
        <p:spPr>
          <a:xfrm>
            <a:off x="500034" y="128586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opriété de limite d’activation </a:t>
            </a:r>
            <a:endParaRPr lang="fr-FR" sz="2000" b="1" dirty="0"/>
          </a:p>
        </p:txBody>
      </p:sp>
      <p:sp>
        <p:nvSpPr>
          <p:cNvPr id="40" name="Subtitle 2"/>
          <p:cNvSpPr txBox="1">
            <a:spLocks/>
          </p:cNvSpPr>
          <p:nvPr/>
        </p:nvSpPr>
        <p:spPr>
          <a:xfrm>
            <a:off x="500034" y="185736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Nouvelles obligations de preuves)</a:t>
            </a:r>
          </a:p>
          <a:p>
            <a:endParaRPr lang="fr-FR" sz="2000" b="1" dirty="0"/>
          </a:p>
        </p:txBody>
      </p:sp>
      <p:graphicFrame>
        <p:nvGraphicFramePr>
          <p:cNvPr id="42" name="Diagramme 41"/>
          <p:cNvGraphicFramePr/>
          <p:nvPr/>
        </p:nvGraphicFramePr>
        <p:xfrm>
          <a:off x="1071538" y="2714620"/>
          <a:ext cx="6929486" cy="3492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42976" y="4286256"/>
            <a:ext cx="2428892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29058" y="4214818"/>
            <a:ext cx="4143375" cy="1071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6" name="Groupe 89"/>
          <p:cNvGrpSpPr/>
          <p:nvPr/>
        </p:nvGrpSpPr>
        <p:grpSpPr>
          <a:xfrm>
            <a:off x="154360" y="111475"/>
            <a:ext cx="8723523" cy="833226"/>
            <a:chOff x="191997" y="59449"/>
            <a:chExt cx="8723523" cy="833226"/>
          </a:xfrm>
        </p:grpSpPr>
        <p:sp>
          <p:nvSpPr>
            <p:cNvPr id="28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9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30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31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4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6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1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3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4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5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5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32" name="ZoneTexte 94"/>
            <p:cNvSpPr txBox="1"/>
            <p:nvPr/>
          </p:nvSpPr>
          <p:spPr>
            <a:xfrm>
              <a:off x="5808863" y="369455"/>
              <a:ext cx="160578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Borne d’activa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145149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5</a:t>
            </a:fld>
            <a:endParaRPr lang="fr-BE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910" y="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u="sng" dirty="0" smtClean="0"/>
              <a:t>Étude de cas </a:t>
            </a:r>
            <a:r>
              <a:rPr lang="fr-FR" sz="2000" b="1" dirty="0" smtClean="0"/>
              <a:t>: Système de production et de contrôle de PCB</a:t>
            </a:r>
            <a:endParaRPr lang="fr-FR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4000496" y="35716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>
          <a:xfrm>
            <a:off x="500034" y="42860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Introduction des probabilités)</a:t>
            </a:r>
          </a:p>
          <a:p>
            <a:endParaRPr lang="fr-FR" sz="2000" b="1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857232"/>
            <a:ext cx="8720167" cy="55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9" name="Groupe 8"/>
          <p:cNvGrpSpPr/>
          <p:nvPr/>
        </p:nvGrpSpPr>
        <p:grpSpPr>
          <a:xfrm>
            <a:off x="6072198" y="1142984"/>
            <a:ext cx="2192911" cy="835570"/>
            <a:chOff x="5385812" y="2443726"/>
            <a:chExt cx="2192911" cy="835570"/>
          </a:xfrm>
        </p:grpSpPr>
        <p:sp>
          <p:nvSpPr>
            <p:cNvPr id="10" name="Rectangle à coins arrondis 9"/>
            <p:cNvSpPr/>
            <p:nvPr/>
          </p:nvSpPr>
          <p:spPr>
            <a:xfrm>
              <a:off x="5385812" y="2443726"/>
              <a:ext cx="2192911" cy="8355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>
            <a:xfrm>
              <a:off x="5426601" y="2484515"/>
              <a:ext cx="2111333" cy="7539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600" b="0" u="none" kern="1200" baseline="0" dirty="0" smtClean="0"/>
                <a:t>Chance des cartes correctes &gt;= chance des cartes erronées</a:t>
              </a:r>
              <a:endParaRPr lang="fr-FR" sz="1600" b="0" u="none" kern="12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89913820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6</a:t>
            </a:fld>
            <a:endParaRPr lang="fr-BE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910" y="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u="sng" dirty="0" smtClean="0"/>
              <a:t>Étude de cas </a:t>
            </a:r>
            <a:r>
              <a:rPr lang="fr-FR" sz="2000" b="1" dirty="0" smtClean="0"/>
              <a:t>: Système de production et de contrôle de PCB</a:t>
            </a:r>
            <a:endParaRPr lang="fr-FR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4000496" y="35716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>
          <a:xfrm>
            <a:off x="500034" y="42860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Introduction des probabilités)</a:t>
            </a:r>
          </a:p>
          <a:p>
            <a:endParaRPr lang="fr-FR" sz="2000" b="1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00562" y="1428736"/>
            <a:ext cx="4429125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357298"/>
            <a:ext cx="4471181" cy="5019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89913820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7</a:t>
            </a:fld>
            <a:endParaRPr lang="fr-BE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910" y="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u="sng" dirty="0" smtClean="0"/>
              <a:t>Étude de cas </a:t>
            </a:r>
            <a:r>
              <a:rPr lang="fr-FR" sz="2000" b="1" dirty="0" smtClean="0"/>
              <a:t>: Système de production et de contrôle de PCB</a:t>
            </a:r>
            <a:endParaRPr lang="fr-FR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4000496" y="357166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>
          <a:xfrm>
            <a:off x="500034" y="428604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Extrait du système de transitions)</a:t>
            </a:r>
          </a:p>
          <a:p>
            <a:r>
              <a:rPr lang="fr-FR" sz="2000" b="1" dirty="0" smtClean="0"/>
              <a:t>)</a:t>
            </a:r>
          </a:p>
          <a:p>
            <a:endParaRPr lang="fr-FR" sz="2000" b="1" dirty="0"/>
          </a:p>
        </p:txBody>
      </p:sp>
      <p:pic>
        <p:nvPicPr>
          <p:cNvPr id="10240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2910" y="952500"/>
            <a:ext cx="7505700" cy="590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89913820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8</a:t>
            </a:fld>
            <a:endParaRPr lang="fr-BE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910" y="28572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u="sng" dirty="0" smtClean="0"/>
              <a:t>Étude de cas </a:t>
            </a:r>
            <a:r>
              <a:rPr lang="fr-FR" sz="2000" b="1" dirty="0" smtClean="0"/>
              <a:t>: Système de production et de contrôle de PCB</a:t>
            </a:r>
            <a:endParaRPr lang="fr-FR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4000496" y="785794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>
          <a:xfrm>
            <a:off x="500034" y="100010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Vérification)</a:t>
            </a:r>
          </a:p>
          <a:p>
            <a:endParaRPr lang="fr-FR" sz="2000" b="1" dirty="0"/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428736"/>
            <a:ext cx="9867900" cy="505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89913820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29</a:t>
            </a:fld>
            <a:endParaRPr lang="fr-BE" dirty="0"/>
          </a:p>
        </p:txBody>
      </p:sp>
      <p:sp>
        <p:nvSpPr>
          <p:cNvPr id="23" name="Subtitle 2"/>
          <p:cNvSpPr txBox="1">
            <a:spLocks/>
          </p:cNvSpPr>
          <p:nvPr/>
        </p:nvSpPr>
        <p:spPr>
          <a:xfrm>
            <a:off x="642910" y="285728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u="sng" dirty="0" smtClean="0"/>
              <a:t>Étude de cas </a:t>
            </a:r>
            <a:r>
              <a:rPr lang="fr-FR" sz="2000" b="1" dirty="0" smtClean="0"/>
              <a:t>: Système de production et de contrôle de PCB</a:t>
            </a:r>
            <a:endParaRPr lang="fr-FR" sz="2000" b="1" dirty="0"/>
          </a:p>
        </p:txBody>
      </p:sp>
      <p:sp>
        <p:nvSpPr>
          <p:cNvPr id="24" name="Rectangle 23"/>
          <p:cNvSpPr/>
          <p:nvPr/>
        </p:nvSpPr>
        <p:spPr>
          <a:xfrm>
            <a:off x="4000496" y="785794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3" name="Subtitle 2"/>
          <p:cNvSpPr txBox="1">
            <a:spLocks/>
          </p:cNvSpPr>
          <p:nvPr/>
        </p:nvSpPr>
        <p:spPr>
          <a:xfrm>
            <a:off x="500034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Vérification)</a:t>
            </a:r>
          </a:p>
          <a:p>
            <a:endParaRPr lang="fr-FR" sz="2000" b="1" dirty="0"/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438275"/>
            <a:ext cx="9829800" cy="541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899138200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à coins arrondis 44"/>
          <p:cNvSpPr/>
          <p:nvPr/>
        </p:nvSpPr>
        <p:spPr bwMode="auto">
          <a:xfrm>
            <a:off x="1142976" y="2857496"/>
            <a:ext cx="6429420" cy="1928826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3</a:t>
            </a:fld>
            <a:endParaRPr lang="fr-BE" dirty="0"/>
          </a:p>
        </p:txBody>
      </p:sp>
      <p:sp>
        <p:nvSpPr>
          <p:cNvPr id="5" name="Rectangle 4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8" name="Subtitle 2"/>
          <p:cNvSpPr txBox="1">
            <a:spLocks/>
          </p:cNvSpPr>
          <p:nvPr/>
        </p:nvSpPr>
        <p:spPr>
          <a:xfrm>
            <a:off x="357158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Introduction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10787106" y="450057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91144" name="AutoShape 8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1146" name="AutoShape 10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4" name="Rectangle à coins arrondis 33"/>
          <p:cNvSpPr/>
          <p:nvPr/>
        </p:nvSpPr>
        <p:spPr bwMode="auto">
          <a:xfrm>
            <a:off x="2143108" y="1785926"/>
            <a:ext cx="4071966" cy="5715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smtClean="0">
                <a:latin typeface="Arial" charset="0"/>
              </a:rPr>
              <a:t>Sûreté des s</a:t>
            </a:r>
            <a:r>
              <a:rPr kumimoji="0" 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ystèmes informatiques </a:t>
            </a:r>
          </a:p>
        </p:txBody>
      </p:sp>
      <p:sp>
        <p:nvSpPr>
          <p:cNvPr id="37" name="Rectangle à coins arrondis 36"/>
          <p:cNvSpPr/>
          <p:nvPr/>
        </p:nvSpPr>
        <p:spPr bwMode="auto">
          <a:xfrm>
            <a:off x="2214546" y="2928934"/>
            <a:ext cx="4071966" cy="5715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tilisation des méthodes formelles</a:t>
            </a:r>
          </a:p>
        </p:txBody>
      </p:sp>
      <p:sp>
        <p:nvSpPr>
          <p:cNvPr id="38" name="Rectangle à coins arrondis 37"/>
          <p:cNvSpPr/>
          <p:nvPr/>
        </p:nvSpPr>
        <p:spPr bwMode="auto">
          <a:xfrm>
            <a:off x="1285852" y="3857628"/>
            <a:ext cx="2214578" cy="571504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écification</a:t>
            </a:r>
          </a:p>
        </p:txBody>
      </p:sp>
      <p:sp>
        <p:nvSpPr>
          <p:cNvPr id="41" name="Rectangle à coins arrondis 40"/>
          <p:cNvSpPr/>
          <p:nvPr/>
        </p:nvSpPr>
        <p:spPr bwMode="auto">
          <a:xfrm>
            <a:off x="5072066" y="3857628"/>
            <a:ext cx="2214578" cy="571504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érification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4071934" y="3929066"/>
            <a:ext cx="571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chemeClr val="bg1"/>
                </a:solidFill>
              </a:rPr>
              <a:t>+</a:t>
            </a:r>
            <a:endParaRPr lang="fr-FR" sz="2400" b="1" dirty="0">
              <a:solidFill>
                <a:schemeClr val="bg1"/>
              </a:solidFill>
            </a:endParaRPr>
          </a:p>
        </p:txBody>
      </p:sp>
      <p:sp>
        <p:nvSpPr>
          <p:cNvPr id="43" name="Flèche vers le bas 42"/>
          <p:cNvSpPr/>
          <p:nvPr/>
        </p:nvSpPr>
        <p:spPr bwMode="auto">
          <a:xfrm>
            <a:off x="4071934" y="2428868"/>
            <a:ext cx="142876" cy="357190"/>
          </a:xfrm>
          <a:prstGeom prst="down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1214414" y="5072074"/>
            <a:ext cx="6429420" cy="857256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Rectangle à coins arrondis 46"/>
          <p:cNvSpPr/>
          <p:nvPr/>
        </p:nvSpPr>
        <p:spPr bwMode="auto">
          <a:xfrm>
            <a:off x="1285852" y="5214950"/>
            <a:ext cx="6215106" cy="5715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dirty="0" smtClean="0">
                <a:latin typeface="Arial" charset="0"/>
              </a:rPr>
              <a:t>Sûreté des s</a:t>
            </a:r>
            <a:r>
              <a:rPr kumimoji="0" 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ystèmes informatiques </a:t>
            </a:r>
            <a:r>
              <a:rPr kumimoji="0" lang="fr-FR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à aspects probabilistes </a:t>
            </a:r>
          </a:p>
        </p:txBody>
      </p:sp>
      <p:pic>
        <p:nvPicPr>
          <p:cNvPr id="90117" name="Picture 5" descr="C:\Users\win7\AppData\Local\Microsoft\Windows\Temporary Internet Files\Content.IE5\S4P9NP9Y\90px-Question_mark_alternate.svg[1]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86710" y="5072074"/>
            <a:ext cx="582488" cy="757235"/>
          </a:xfrm>
          <a:prstGeom prst="rect">
            <a:avLst/>
          </a:prstGeom>
          <a:noFill/>
        </p:spPr>
      </p:pic>
      <p:grpSp>
        <p:nvGrpSpPr>
          <p:cNvPr id="35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36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bg1"/>
                  </a:solidFill>
                </a:rPr>
                <a:t>Introduc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4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ent-B</a:t>
              </a:r>
            </a:p>
          </p:txBody>
        </p:sp>
        <p:grpSp>
          <p:nvGrpSpPr>
            <p:cNvPr id="48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5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53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5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6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7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8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9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52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49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34" grpId="0" animBg="1"/>
      <p:bldP spid="34" grpId="1" animBg="1"/>
      <p:bldP spid="37" grpId="0" animBg="1"/>
      <p:bldP spid="38" grpId="0" animBg="1"/>
      <p:bldP spid="41" grpId="0" animBg="1"/>
      <p:bldP spid="42" grpId="0"/>
      <p:bldP spid="43" grpId="0" animBg="1"/>
      <p:bldP spid="43" grpId="1" animBg="1"/>
      <p:bldP spid="46" grpId="0" animBg="1"/>
      <p:bldP spid="4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30</a:t>
            </a:fld>
            <a:endParaRPr lang="fr-BE" dirty="0"/>
          </a:p>
        </p:txBody>
      </p:sp>
      <p:grpSp>
        <p:nvGrpSpPr>
          <p:cNvPr id="2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8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9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30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Event-B</a:t>
              </a:r>
            </a:p>
          </p:txBody>
        </p:sp>
        <p:grpSp>
          <p:nvGrpSpPr>
            <p:cNvPr id="3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5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6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7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1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3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4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5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5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/>
                  <a:t>Event-B probabiliste</a:t>
                </a:r>
                <a:endParaRPr lang="fr-FR" sz="1400" dirty="0"/>
              </a:p>
            </p:txBody>
          </p:sp>
        </p:grpSp>
        <p:sp>
          <p:nvSpPr>
            <p:cNvPr id="32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Borne d’activation</a:t>
              </a:r>
              <a:endParaRPr lang="fr-FR" sz="1400" dirty="0"/>
            </a:p>
          </p:txBody>
        </p:sp>
        <p:sp>
          <p:nvSpPr>
            <p:cNvPr id="33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31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2500306"/>
            <a:ext cx="2699791" cy="2475090"/>
          </a:xfrm>
          <a:prstGeom prst="rect">
            <a:avLst/>
          </a:prstGeom>
        </p:spPr>
      </p:pic>
      <p:pic>
        <p:nvPicPr>
          <p:cNvPr id="34" name="Picture 7" descr="blu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 b="10303"/>
          <a:stretch>
            <a:fillRect/>
          </a:stretch>
        </p:blipFill>
        <p:spPr bwMode="auto">
          <a:xfrm>
            <a:off x="2699791" y="2500306"/>
            <a:ext cx="6444209" cy="2475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Chevron 46"/>
          <p:cNvSpPr/>
          <p:nvPr/>
        </p:nvSpPr>
        <p:spPr bwMode="auto">
          <a:xfrm>
            <a:off x="4572000" y="3286124"/>
            <a:ext cx="432048" cy="441234"/>
          </a:xfrm>
          <a:prstGeom prst="chevr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Chevron 47"/>
          <p:cNvSpPr/>
          <p:nvPr/>
        </p:nvSpPr>
        <p:spPr bwMode="auto">
          <a:xfrm>
            <a:off x="4104098" y="3286124"/>
            <a:ext cx="432048" cy="441234"/>
          </a:xfrm>
          <a:prstGeom prst="chevr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Chevron 48"/>
          <p:cNvSpPr/>
          <p:nvPr/>
        </p:nvSpPr>
        <p:spPr bwMode="auto">
          <a:xfrm>
            <a:off x="3608487" y="3286124"/>
            <a:ext cx="432048" cy="441234"/>
          </a:xfrm>
          <a:prstGeom prst="chevr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5500694" y="3000372"/>
            <a:ext cx="2520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xmlns="" val="38145149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  <p:bldP spid="49" grpId="0" animBg="1"/>
      <p:bldP spid="5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4</a:t>
            </a:fld>
            <a:endParaRPr lang="fr-BE" dirty="0"/>
          </a:p>
        </p:txBody>
      </p:sp>
      <p:sp>
        <p:nvSpPr>
          <p:cNvPr id="5" name="Rectangle 4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8" name="Subtitle 2"/>
          <p:cNvSpPr txBox="1">
            <a:spLocks/>
          </p:cNvSpPr>
          <p:nvPr/>
        </p:nvSpPr>
        <p:spPr>
          <a:xfrm>
            <a:off x="357158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Système de production et de contrôle de PCB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0" name="Subtitle 2"/>
          <p:cNvSpPr txBox="1">
            <a:spLocks/>
          </p:cNvSpPr>
          <p:nvPr/>
        </p:nvSpPr>
        <p:spPr>
          <a:xfrm>
            <a:off x="428596" y="142873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Principe)</a:t>
            </a:r>
          </a:p>
          <a:p>
            <a:endParaRPr lang="fr-FR" sz="2000" b="1" dirty="0"/>
          </a:p>
        </p:txBody>
      </p:sp>
      <p:pic>
        <p:nvPicPr>
          <p:cNvPr id="91138" name="Picture 2" descr="Image associÃ©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282" y="2643182"/>
            <a:ext cx="2500330" cy="3143272"/>
          </a:xfrm>
          <a:prstGeom prst="rect">
            <a:avLst/>
          </a:prstGeom>
          <a:noFill/>
        </p:spPr>
      </p:pic>
      <p:pic>
        <p:nvPicPr>
          <p:cNvPr id="31" name="Picture 2" descr="Résultat d’images pour clipart carte electroniqu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29256" y="1785926"/>
            <a:ext cx="1619250" cy="1619251"/>
          </a:xfrm>
          <a:prstGeom prst="rect">
            <a:avLst/>
          </a:prstGeom>
          <a:noFill/>
        </p:spPr>
      </p:pic>
      <p:pic>
        <p:nvPicPr>
          <p:cNvPr id="32" name="Image 31" descr="Sans titre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429256" y="4429132"/>
            <a:ext cx="1619476" cy="1600423"/>
          </a:xfrm>
          <a:prstGeom prst="rect">
            <a:avLst/>
          </a:prstGeom>
        </p:spPr>
      </p:pic>
      <p:sp>
        <p:nvSpPr>
          <p:cNvPr id="36" name="Flèche droite 35"/>
          <p:cNvSpPr/>
          <p:nvPr/>
        </p:nvSpPr>
        <p:spPr bwMode="auto">
          <a:xfrm rot="20466714">
            <a:off x="3037550" y="2650733"/>
            <a:ext cx="2298452" cy="270649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Flèche droite 38"/>
          <p:cNvSpPr/>
          <p:nvPr/>
        </p:nvSpPr>
        <p:spPr bwMode="auto">
          <a:xfrm rot="976487">
            <a:off x="3063675" y="4745774"/>
            <a:ext cx="2298452" cy="270649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10787106" y="450057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91144" name="AutoShape 8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1146" name="AutoShape 10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69633" name="Picture 1" descr="C:\Users\win7\AppData\Local\Microsoft\Windows\Temporary Internet Files\Content.IE5\8NPOJ2QF\768px-Gtk-ok.svg[1]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29520" y="1928802"/>
            <a:ext cx="1328755" cy="1285885"/>
          </a:xfrm>
          <a:prstGeom prst="rect">
            <a:avLst/>
          </a:prstGeom>
          <a:noFill/>
        </p:spPr>
      </p:pic>
      <p:pic>
        <p:nvPicPr>
          <p:cNvPr id="69634" name="Picture 2" descr="C:\Users\win7\AppData\Local\Microsoft\Windows\Temporary Internet Files\Content.IE5\8NPOJ2QF\600px-No-Symbol[1]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00958" y="4786322"/>
            <a:ext cx="1000132" cy="1000132"/>
          </a:xfrm>
          <a:prstGeom prst="rect">
            <a:avLst/>
          </a:prstGeom>
          <a:noFill/>
        </p:spPr>
      </p:pic>
      <p:sp>
        <p:nvSpPr>
          <p:cNvPr id="35" name="Rectangle 34"/>
          <p:cNvSpPr/>
          <p:nvPr/>
        </p:nvSpPr>
        <p:spPr bwMode="auto">
          <a:xfrm>
            <a:off x="2857488" y="3500438"/>
            <a:ext cx="2357454" cy="654967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spection ICT et FCT</a:t>
            </a:r>
          </a:p>
        </p:txBody>
      </p:sp>
      <p:grpSp>
        <p:nvGrpSpPr>
          <p:cNvPr id="37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38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bg1"/>
                  </a:solidFill>
                </a:rPr>
                <a:t>Introduc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42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ent-B</a:t>
              </a:r>
            </a:p>
          </p:txBody>
        </p:sp>
        <p:grpSp>
          <p:nvGrpSpPr>
            <p:cNvPr id="43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46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48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9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0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1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2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3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54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47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44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9" grpId="0" animBg="1"/>
      <p:bldP spid="3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4141069910"/>
              </p:ext>
            </p:extLst>
          </p:nvPr>
        </p:nvGraphicFramePr>
        <p:xfrm>
          <a:off x="114878" y="1699646"/>
          <a:ext cx="9029122" cy="4539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251520" y="2996952"/>
            <a:ext cx="4176464" cy="2160240"/>
          </a:xfrm>
          <a:prstGeom prst="rect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187624" y="5301208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Modèle 1</a:t>
            </a:r>
          </a:p>
          <a:p>
            <a:pPr algn="ctr"/>
            <a:r>
              <a:rPr lang="fr-FR" sz="1400" b="1" dirty="0" smtClean="0"/>
              <a:t>Event-B classique</a:t>
            </a:r>
            <a:endParaRPr lang="fr-FR" sz="1400" b="1" dirty="0"/>
          </a:p>
        </p:txBody>
      </p:sp>
      <p:sp>
        <p:nvSpPr>
          <p:cNvPr id="8" name="Rectangle 7"/>
          <p:cNvSpPr/>
          <p:nvPr/>
        </p:nvSpPr>
        <p:spPr bwMode="auto">
          <a:xfrm>
            <a:off x="4559036" y="2996952"/>
            <a:ext cx="4117420" cy="2160240"/>
          </a:xfrm>
          <a:prstGeom prst="rect">
            <a:avLst/>
          </a:prstGeom>
          <a:noFill/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220072" y="1916832"/>
            <a:ext cx="20527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C00000"/>
                </a:solidFill>
              </a:rPr>
              <a:t>Modèle 2</a:t>
            </a:r>
          </a:p>
          <a:p>
            <a:pPr algn="ctr"/>
            <a:r>
              <a:rPr lang="fr-FR" sz="1400" b="1" dirty="0" smtClean="0"/>
              <a:t>Event-B probabiliste</a:t>
            </a:r>
            <a:endParaRPr lang="fr-FR" sz="1400" b="1" dirty="0"/>
          </a:p>
        </p:txBody>
      </p:sp>
      <p:sp>
        <p:nvSpPr>
          <p:cNvPr id="46" name="Espace réservé du pied de page 32"/>
          <p:cNvSpPr txBox="1">
            <a:spLocks/>
          </p:cNvSpPr>
          <p:nvPr/>
        </p:nvSpPr>
        <p:spPr bwMode="auto">
          <a:xfrm>
            <a:off x="6228184" y="6464885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642BDB-5B6A-4113-A750-58AC9F666916}" type="slidenum">
              <a:rPr lang="fr-BE" smtClean="0"/>
              <a:pPr algn="r"/>
              <a:t>5</a:t>
            </a:fld>
            <a:endParaRPr lang="fr-BE" dirty="0"/>
          </a:p>
        </p:txBody>
      </p:sp>
      <p:grpSp>
        <p:nvGrpSpPr>
          <p:cNvPr id="12" name="Groupe 33"/>
          <p:cNvGrpSpPr/>
          <p:nvPr/>
        </p:nvGrpSpPr>
        <p:grpSpPr>
          <a:xfrm>
            <a:off x="357158" y="4071942"/>
            <a:ext cx="1723680" cy="835570"/>
            <a:chOff x="7049398" y="2449428"/>
            <a:chExt cx="1723680" cy="835570"/>
          </a:xfrm>
        </p:grpSpPr>
        <p:sp>
          <p:nvSpPr>
            <p:cNvPr id="35" name="Rectangle à coins arrondis 34"/>
            <p:cNvSpPr/>
            <p:nvPr/>
          </p:nvSpPr>
          <p:spPr>
            <a:xfrm>
              <a:off x="7049398" y="2449428"/>
              <a:ext cx="1723680" cy="8355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Rectangle 35"/>
            <p:cNvSpPr/>
            <p:nvPr/>
          </p:nvSpPr>
          <p:spPr>
            <a:xfrm>
              <a:off x="7090187" y="2490217"/>
              <a:ext cx="1642102" cy="7539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600" b="0" u="none" kern="1200" baseline="0" dirty="0" smtClean="0"/>
                <a:t>Nombre de signalisations d’erreurs limité</a:t>
              </a:r>
              <a:endParaRPr lang="fr-FR" sz="1600" b="0" u="none" kern="1200" baseline="0" dirty="0"/>
            </a:p>
          </p:txBody>
        </p:sp>
      </p:grpSp>
      <p:sp>
        <p:nvSpPr>
          <p:cNvPr id="41" name="Rectangle à coins arrondis 40"/>
          <p:cNvSpPr/>
          <p:nvPr/>
        </p:nvSpPr>
        <p:spPr>
          <a:xfrm>
            <a:off x="4644008" y="3212976"/>
            <a:ext cx="1723680" cy="835570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fr-FR" sz="1600" dirty="0" smtClean="0"/>
              <a:t>Plus de cartes correctes</a:t>
            </a:r>
            <a:endParaRPr lang="fr-FR" sz="1600" dirty="0"/>
          </a:p>
        </p:txBody>
      </p:sp>
      <p:sp>
        <p:nvSpPr>
          <p:cNvPr id="30" name="Rectangle à coins arrondis 29"/>
          <p:cNvSpPr/>
          <p:nvPr/>
        </p:nvSpPr>
        <p:spPr>
          <a:xfrm>
            <a:off x="6572264" y="3214686"/>
            <a:ext cx="1723680" cy="835570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fr-FR" sz="1600" dirty="0" smtClean="0"/>
              <a:t>Moins de cartes erronées</a:t>
            </a:r>
            <a:endParaRPr lang="fr-FR" sz="1600" dirty="0"/>
          </a:p>
        </p:txBody>
      </p:sp>
      <p:sp>
        <p:nvSpPr>
          <p:cNvPr id="31" name="Rectangle à coins arrondis 30"/>
          <p:cNvSpPr/>
          <p:nvPr/>
        </p:nvSpPr>
        <p:spPr>
          <a:xfrm>
            <a:off x="357158" y="3143248"/>
            <a:ext cx="1723680" cy="835570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fr-FR" sz="1600" dirty="0" smtClean="0"/>
              <a:t>Identification des cartes</a:t>
            </a:r>
            <a:endParaRPr lang="fr-FR" sz="1600" dirty="0"/>
          </a:p>
        </p:txBody>
      </p:sp>
      <p:sp>
        <p:nvSpPr>
          <p:cNvPr id="32" name="Rectangle à coins arrondis 31"/>
          <p:cNvSpPr/>
          <p:nvPr/>
        </p:nvSpPr>
        <p:spPr>
          <a:xfrm>
            <a:off x="2428860" y="3143248"/>
            <a:ext cx="1723680" cy="835570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fr-FR" sz="1600" dirty="0" smtClean="0"/>
              <a:t>Génération des cartes</a:t>
            </a:r>
            <a:endParaRPr lang="fr-FR" sz="1600" dirty="0"/>
          </a:p>
        </p:txBody>
      </p:sp>
      <p:sp>
        <p:nvSpPr>
          <p:cNvPr id="33" name="Rectangle à coins arrondis 32"/>
          <p:cNvSpPr/>
          <p:nvPr/>
        </p:nvSpPr>
        <p:spPr>
          <a:xfrm>
            <a:off x="2500298" y="4071942"/>
            <a:ext cx="1723680" cy="835570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fr-FR" sz="1600" dirty="0" smtClean="0"/>
              <a:t>Nombre de cartes limité</a:t>
            </a:r>
            <a:endParaRPr lang="fr-FR" sz="1600" dirty="0"/>
          </a:p>
        </p:txBody>
      </p:sp>
      <p:sp>
        <p:nvSpPr>
          <p:cNvPr id="34" name="Subtitle 2"/>
          <p:cNvSpPr txBox="1">
            <a:spLocks/>
          </p:cNvSpPr>
          <p:nvPr/>
        </p:nvSpPr>
        <p:spPr>
          <a:xfrm>
            <a:off x="357158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Système de production et de contrôle de PCB</a:t>
            </a:r>
            <a:endParaRPr lang="fr-FR" sz="2000" b="1" dirty="0"/>
          </a:p>
        </p:txBody>
      </p:sp>
      <p:sp>
        <p:nvSpPr>
          <p:cNvPr id="37" name="Rectangle 36"/>
          <p:cNvSpPr/>
          <p:nvPr/>
        </p:nvSpPr>
        <p:spPr>
          <a:xfrm>
            <a:off x="3929058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8" name="Subtitle 2"/>
          <p:cNvSpPr txBox="1">
            <a:spLocks/>
          </p:cNvSpPr>
          <p:nvPr/>
        </p:nvSpPr>
        <p:spPr>
          <a:xfrm>
            <a:off x="428596" y="142873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Description)</a:t>
            </a:r>
          </a:p>
          <a:p>
            <a:endParaRPr lang="fr-FR" sz="2000" b="1" dirty="0"/>
          </a:p>
        </p:txBody>
      </p:sp>
      <p:sp>
        <p:nvSpPr>
          <p:cNvPr id="40" name="Rectangle 39"/>
          <p:cNvSpPr/>
          <p:nvPr/>
        </p:nvSpPr>
        <p:spPr bwMode="auto">
          <a:xfrm>
            <a:off x="1571604" y="6143644"/>
            <a:ext cx="5857916" cy="50006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istorique des erreurs + Historique des cartes </a:t>
            </a:r>
          </a:p>
        </p:txBody>
      </p:sp>
      <p:sp>
        <p:nvSpPr>
          <p:cNvPr id="42" name="Flèche droite 41"/>
          <p:cNvSpPr/>
          <p:nvPr/>
        </p:nvSpPr>
        <p:spPr bwMode="auto">
          <a:xfrm>
            <a:off x="785786" y="6357958"/>
            <a:ext cx="714380" cy="142876"/>
          </a:xfrm>
          <a:prstGeom prst="rightArrow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61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bg1"/>
                  </a:solidFill>
                </a:rPr>
                <a:t>Introduction</a:t>
              </a:r>
              <a:endParaRPr lang="fr-FR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63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ent-B</a:t>
              </a:r>
            </a:p>
          </p:txBody>
        </p:sp>
        <p:grpSp>
          <p:nvGrpSpPr>
            <p:cNvPr id="64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67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69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1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2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3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4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5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68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65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6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61593151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8" grpId="0" animBg="1"/>
      <p:bldP spid="9" grpId="0"/>
      <p:bldP spid="40" grpId="0" animBg="1"/>
      <p:bldP spid="4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6</a:t>
            </a:fld>
            <a:endParaRPr lang="fr-BE" dirty="0"/>
          </a:p>
        </p:txBody>
      </p:sp>
      <p:sp>
        <p:nvSpPr>
          <p:cNvPr id="5" name="Rectangle 4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8" name="Subtitle 2"/>
          <p:cNvSpPr txBox="1">
            <a:spLocks/>
          </p:cNvSpPr>
          <p:nvPr/>
        </p:nvSpPr>
        <p:spPr>
          <a:xfrm>
            <a:off x="357158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Présentation du projet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10787106" y="450057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/>
          </a:p>
        </p:txBody>
      </p:sp>
      <p:sp>
        <p:nvSpPr>
          <p:cNvPr id="91144" name="AutoShape 8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1146" name="AutoShape 10" descr="RÃ©sultat de recherche d'images pour &quot;annuler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aphicFrame>
        <p:nvGraphicFramePr>
          <p:cNvPr id="35" name="Diagramme 34"/>
          <p:cNvGraphicFramePr/>
          <p:nvPr/>
        </p:nvGraphicFramePr>
        <p:xfrm>
          <a:off x="1214414" y="200024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4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65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66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/>
                <a:t>Présentation du projet </a:t>
              </a:r>
              <a:endParaRPr lang="fr-FR" sz="1400" b="1" dirty="0"/>
            </a:p>
          </p:txBody>
        </p:sp>
        <p:sp>
          <p:nvSpPr>
            <p:cNvPr id="67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ent-B</a:t>
              </a:r>
            </a:p>
          </p:txBody>
        </p:sp>
        <p:grpSp>
          <p:nvGrpSpPr>
            <p:cNvPr id="68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71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73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4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5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6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7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8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79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72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69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EEEEEE"/>
            </a:gs>
            <a:gs pos="64166">
              <a:srgbClr val="E8EFF4"/>
            </a:gs>
            <a:gs pos="83000">
              <a:srgbClr val="DBE4E5"/>
            </a:gs>
            <a:gs pos="78320">
              <a:schemeClr val="accent6">
                <a:lumMod val="20000"/>
                <a:lumOff val="8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7</a:t>
            </a:fld>
            <a:endParaRPr lang="fr-BE" dirty="0"/>
          </a:p>
        </p:txBody>
      </p:sp>
      <p:sp>
        <p:nvSpPr>
          <p:cNvPr id="5" name="Rectangle 4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4" name="ZoneTexte 23"/>
          <p:cNvSpPr txBox="1"/>
          <p:nvPr/>
        </p:nvSpPr>
        <p:spPr>
          <a:xfrm>
            <a:off x="571472" y="2071678"/>
            <a:ext cx="8286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Méthode formelle de spécification et de vérification à base de preuves </a:t>
            </a:r>
            <a:endParaRPr lang="fr-FR" dirty="0"/>
          </a:p>
        </p:txBody>
      </p:sp>
      <p:graphicFrame>
        <p:nvGraphicFramePr>
          <p:cNvPr id="25" name="Diagramme 24"/>
          <p:cNvGraphicFramePr/>
          <p:nvPr>
            <p:extLst/>
          </p:nvPr>
        </p:nvGraphicFramePr>
        <p:xfrm>
          <a:off x="785786" y="2571744"/>
          <a:ext cx="784887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8" name="Subtitle 2"/>
          <p:cNvSpPr txBox="1">
            <a:spLocks/>
          </p:cNvSpPr>
          <p:nvPr/>
        </p:nvSpPr>
        <p:spPr>
          <a:xfrm>
            <a:off x="357158" y="928670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Event-B </a:t>
            </a:r>
            <a:endParaRPr lang="fr-FR" sz="2000" b="1" dirty="0"/>
          </a:p>
        </p:txBody>
      </p:sp>
      <p:sp>
        <p:nvSpPr>
          <p:cNvPr id="29" name="Rectangle 28"/>
          <p:cNvSpPr/>
          <p:nvPr/>
        </p:nvSpPr>
        <p:spPr>
          <a:xfrm>
            <a:off x="3929058" y="1285860"/>
            <a:ext cx="582541" cy="6400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53" tIns="19178" rIns="38353" bIns="19178" rtlCol="0" anchor="ctr"/>
          <a:lstStyle/>
          <a:p>
            <a:pPr algn="ctr"/>
            <a:endParaRPr lang="en-US" dirty="0">
              <a:solidFill>
                <a:schemeClr val="accent2"/>
              </a:solidFill>
              <a:latin typeface="Open Sans Light"/>
            </a:endParaRPr>
          </a:p>
        </p:txBody>
      </p:sp>
      <p:sp>
        <p:nvSpPr>
          <p:cNvPr id="30" name="Subtitle 2"/>
          <p:cNvSpPr txBox="1">
            <a:spLocks/>
          </p:cNvSpPr>
          <p:nvPr/>
        </p:nvSpPr>
        <p:spPr>
          <a:xfrm>
            <a:off x="428596" y="1428736"/>
            <a:ext cx="7744968" cy="419558"/>
          </a:xfrm>
          <a:prstGeom prst="rect">
            <a:avLst/>
          </a:prstGeom>
        </p:spPr>
        <p:txBody>
          <a:bodyPr vert="horz" lIns="91324" tIns="45662" rIns="91324" bIns="45662" rtlCol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 smtClean="0"/>
              <a:t>(Définition)</a:t>
            </a:r>
          </a:p>
          <a:p>
            <a:endParaRPr lang="fr-FR" sz="2000" b="1" dirty="0"/>
          </a:p>
        </p:txBody>
      </p:sp>
      <p:grpSp>
        <p:nvGrpSpPr>
          <p:cNvPr id="26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7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31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32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Event-B</a:t>
              </a:r>
            </a:p>
          </p:txBody>
        </p:sp>
        <p:grpSp>
          <p:nvGrpSpPr>
            <p:cNvPr id="33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6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8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0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1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2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3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44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7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34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5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dgm id="{AC199A31-6445-4F67-92A6-CA8552A9C5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>
                                            <p:graphicEl>
                                              <a:dgm id="{AC199A31-6445-4F67-92A6-CA8552A9C5F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>
                                            <p:graphicEl>
                                              <a:dgm id="{AC199A31-6445-4F67-92A6-CA8552A9C5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>
                                            <p:graphicEl>
                                              <a:dgm id="{AC199A31-6445-4F67-92A6-CA8552A9C5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dgm id="{3DBCCFFB-3CEC-46A9-A5D1-5C3E7AE16A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>
                                            <p:graphicEl>
                                              <a:dgm id="{3DBCCFFB-3CEC-46A9-A5D1-5C3E7AE16A8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>
                                            <p:graphicEl>
                                              <a:dgm id="{3DBCCFFB-3CEC-46A9-A5D1-5C3E7AE16A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>
                                            <p:graphicEl>
                                              <a:dgm id="{3DBCCFFB-3CEC-46A9-A5D1-5C3E7AE16A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dgm id="{8AA6FD74-85F7-4115-8341-EB1DFCEDFC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5">
                                            <p:graphicEl>
                                              <a:dgm id="{8AA6FD74-85F7-4115-8341-EB1DFCEDFCF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5">
                                            <p:graphicEl>
                                              <a:dgm id="{8AA6FD74-85F7-4115-8341-EB1DFCEDFC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>
                                            <p:graphicEl>
                                              <a:dgm id="{8AA6FD74-85F7-4115-8341-EB1DFCEDFC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graphicEl>
                                              <a:dgm id="{AD392A59-2790-400A-869B-A86EFC974C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>
                                            <p:graphicEl>
                                              <a:dgm id="{AD392A59-2790-400A-869B-A86EFC974C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>
                                            <p:graphicEl>
                                              <a:dgm id="{AD392A59-2790-400A-869B-A86EFC974C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5">
                                            <p:graphicEl>
                                              <a:dgm id="{AD392A59-2790-400A-869B-A86EFC974C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Sub>
          <a:bldDgm bld="one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95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8</a:t>
            </a:fld>
            <a:endParaRPr lang="fr-BE" dirty="0"/>
          </a:p>
        </p:txBody>
      </p:sp>
      <p:sp>
        <p:nvSpPr>
          <p:cNvPr id="5" name="Rectangle 4"/>
          <p:cNvSpPr/>
          <p:nvPr/>
        </p:nvSpPr>
        <p:spPr>
          <a:xfrm>
            <a:off x="-12964" y="-9168"/>
            <a:ext cx="9144000" cy="96384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23" name="Groupe 89"/>
          <p:cNvGrpSpPr/>
          <p:nvPr/>
        </p:nvGrpSpPr>
        <p:grpSpPr>
          <a:xfrm>
            <a:off x="154360" y="111475"/>
            <a:ext cx="8723523" cy="824526"/>
            <a:chOff x="191997" y="59449"/>
            <a:chExt cx="8723523" cy="824526"/>
          </a:xfrm>
        </p:grpSpPr>
        <p:sp>
          <p:nvSpPr>
            <p:cNvPr id="24" name="ZoneTexte 90"/>
            <p:cNvSpPr txBox="1"/>
            <p:nvPr/>
          </p:nvSpPr>
          <p:spPr>
            <a:xfrm>
              <a:off x="191997" y="369291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/>
                <a:t>Introduction</a:t>
              </a:r>
              <a:endParaRPr lang="fr-FR" sz="1400" dirty="0"/>
            </a:p>
          </p:txBody>
        </p:sp>
        <p:sp>
          <p:nvSpPr>
            <p:cNvPr id="25" name="ZoneTexte 91"/>
            <p:cNvSpPr txBox="1"/>
            <p:nvPr/>
          </p:nvSpPr>
          <p:spPr>
            <a:xfrm>
              <a:off x="1410848" y="353905"/>
              <a:ext cx="17594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Présentation du projet </a:t>
              </a:r>
              <a:endParaRPr lang="fr-FR" sz="1400" dirty="0"/>
            </a:p>
          </p:txBody>
        </p:sp>
        <p:sp>
          <p:nvSpPr>
            <p:cNvPr id="26" name="ZoneTexte 92"/>
            <p:cNvSpPr txBox="1"/>
            <p:nvPr/>
          </p:nvSpPr>
          <p:spPr>
            <a:xfrm>
              <a:off x="2996904" y="353905"/>
              <a:ext cx="12154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</a:rPr>
                <a:t>Event-B</a:t>
              </a:r>
            </a:p>
          </p:txBody>
        </p:sp>
        <p:grpSp>
          <p:nvGrpSpPr>
            <p:cNvPr id="27" name="Groupe 93"/>
            <p:cNvGrpSpPr/>
            <p:nvPr/>
          </p:nvGrpSpPr>
          <p:grpSpPr>
            <a:xfrm>
              <a:off x="202552" y="59449"/>
              <a:ext cx="8712968" cy="824526"/>
              <a:chOff x="202552" y="59449"/>
              <a:chExt cx="8712968" cy="824526"/>
            </a:xfrm>
          </p:grpSpPr>
          <p:grpSp>
            <p:nvGrpSpPr>
              <p:cNvPr id="30" name="Groupe 96"/>
              <p:cNvGrpSpPr/>
              <p:nvPr/>
            </p:nvGrpSpPr>
            <p:grpSpPr>
              <a:xfrm>
                <a:off x="202552" y="59449"/>
                <a:ext cx="8712968" cy="309842"/>
                <a:chOff x="202552" y="188640"/>
                <a:chExt cx="8712968" cy="309842"/>
              </a:xfrm>
            </p:grpSpPr>
            <p:cxnSp>
              <p:nvCxnSpPr>
                <p:cNvPr id="32" name="Connecteur droit avec flèche 98"/>
                <p:cNvCxnSpPr/>
                <p:nvPr/>
              </p:nvCxnSpPr>
              <p:spPr bwMode="auto">
                <a:xfrm>
                  <a:off x="202552" y="332656"/>
                  <a:ext cx="8712968" cy="0"/>
                </a:xfrm>
                <a:prstGeom prst="straightConnector1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  <a:headEnd type="none" w="med" len="med"/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Ellipse 99"/>
                <p:cNvSpPr/>
                <p:nvPr/>
              </p:nvSpPr>
              <p:spPr bwMode="auto">
                <a:xfrm>
                  <a:off x="686088" y="18864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4" name="Ellipse 100"/>
                <p:cNvSpPr/>
                <p:nvPr/>
              </p:nvSpPr>
              <p:spPr bwMode="auto">
                <a:xfrm>
                  <a:off x="2027126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5" name="Ellipse 101"/>
                <p:cNvSpPr/>
                <p:nvPr/>
              </p:nvSpPr>
              <p:spPr bwMode="auto">
                <a:xfrm>
                  <a:off x="3472924" y="198984"/>
                  <a:ext cx="263438" cy="284112"/>
                </a:xfrm>
                <a:prstGeom prst="ellipse">
                  <a:avLst/>
                </a:prstGeom>
                <a:solidFill>
                  <a:srgbClr val="E6E666"/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6" name="Ellipse 102"/>
                <p:cNvSpPr/>
                <p:nvPr/>
              </p:nvSpPr>
              <p:spPr bwMode="auto">
                <a:xfrm>
                  <a:off x="4882391" y="214370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7" name="Ellipse 103"/>
                <p:cNvSpPr/>
                <p:nvPr/>
              </p:nvSpPr>
              <p:spPr bwMode="auto">
                <a:xfrm>
                  <a:off x="6403139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  <p:sp>
              <p:nvSpPr>
                <p:cNvPr id="38" name="Ellipse 104"/>
                <p:cNvSpPr/>
                <p:nvPr/>
              </p:nvSpPr>
              <p:spPr bwMode="auto">
                <a:xfrm>
                  <a:off x="7812360" y="198984"/>
                  <a:ext cx="263438" cy="28411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solidFill>
                    <a:schemeClr val="bg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1" i="0" u="none" strike="noStrike" normalizeH="0" baseline="0" smtClean="0">
                    <a:ln w="12700">
                      <a:solidFill>
                        <a:schemeClr val="tx2">
                          <a:satMod val="155000"/>
                        </a:schemeClr>
                      </a:solidFill>
                      <a:prstDash val="solid"/>
                    </a:ln>
                    <a:solidFill>
                      <a:schemeClr val="bg2">
                        <a:tint val="85000"/>
                        <a:satMod val="155000"/>
                      </a:schemeClr>
                    </a:solidFill>
                    <a:effectLst>
                      <a:outerShdw blurRad="41275" dist="20320" dir="1800000" algn="tl" rotWithShape="0">
                        <a:srgbClr val="000000">
                          <a:alpha val="40000"/>
                        </a:srgbClr>
                      </a:outerShdw>
                    </a:effectLst>
                    <a:latin typeface="Arial" charset="0"/>
                  </a:endParaRPr>
                </a:p>
              </p:txBody>
            </p:sp>
          </p:grpSp>
          <p:sp>
            <p:nvSpPr>
              <p:cNvPr id="31" name="ZoneTexte 97"/>
              <p:cNvSpPr txBox="1"/>
              <p:nvPr/>
            </p:nvSpPr>
            <p:spPr>
              <a:xfrm>
                <a:off x="4211215" y="360755"/>
                <a:ext cx="1605789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4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Event-B probabiliste</a:t>
                </a:r>
                <a:endParaRPr lang="fr-FR" sz="14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sp>
          <p:nvSpPr>
            <p:cNvPr id="28" name="ZoneTexte 94"/>
            <p:cNvSpPr txBox="1"/>
            <p:nvPr/>
          </p:nvSpPr>
          <p:spPr>
            <a:xfrm>
              <a:off x="5808863" y="369455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Borne d’activation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9" name="ZoneTexte 95"/>
            <p:cNvSpPr txBox="1"/>
            <p:nvPr/>
          </p:nvSpPr>
          <p:spPr>
            <a:xfrm>
              <a:off x="7152474" y="386813"/>
              <a:ext cx="16057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Conclusion </a:t>
              </a:r>
              <a:endParaRPr lang="fr-FR" sz="14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933450"/>
            <a:ext cx="8686800" cy="592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32"/>
          <p:cNvSpPr>
            <a:spLocks noGrp="1"/>
          </p:cNvSpPr>
          <p:nvPr>
            <p:ph type="ftr" sz="quarter" idx="10"/>
          </p:nvPr>
        </p:nvSpPr>
        <p:spPr>
          <a:xfrm>
            <a:off x="6228184" y="6464885"/>
            <a:ext cx="2762250" cy="247650"/>
          </a:xfrm>
        </p:spPr>
        <p:txBody>
          <a:bodyPr/>
          <a:lstStyle/>
          <a:p>
            <a:pPr algn="r"/>
            <a:fld id="{A6F28D56-03E5-41E0-835B-CE5610F766BA}" type="slidenum">
              <a:rPr lang="fr-BE" smtClean="0"/>
              <a:pPr algn="r"/>
              <a:t>9</a:t>
            </a:fld>
            <a:endParaRPr lang="fr-BE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785794"/>
            <a:ext cx="3000396" cy="4984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0" y="214291"/>
            <a:ext cx="3731398" cy="6434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3306479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heme/theme1.xml><?xml version="1.0" encoding="utf-8"?>
<a:theme xmlns:a="http://schemas.openxmlformats.org/drawingml/2006/main" name="Standarddesign">
  <a:themeElements>
    <a:clrScheme name="Urbain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33</TotalTime>
  <Words>1010</Words>
  <Application>Microsoft Office PowerPoint</Application>
  <PresentationFormat>Affichage à l'écran (4:3)</PresentationFormat>
  <Paragraphs>379</Paragraphs>
  <Slides>30</Slides>
  <Notes>30</Notes>
  <HiddenSlides>2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30</vt:i4>
      </vt:variant>
    </vt:vector>
  </HeadingPairs>
  <TitlesOfParts>
    <vt:vector size="31" baseType="lpstr">
      <vt:lpstr>Standarddesign</vt:lpstr>
      <vt:lpstr> Limiter l’activation d’un événement en Event-B probabiliste</vt:lpstr>
      <vt:lpstr>Plan</vt:lpstr>
      <vt:lpstr>Diapositive 3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Diapositive 13</vt:lpstr>
      <vt:lpstr>Diapositive 14</vt:lpstr>
      <vt:lpstr>Diapositive 15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  <vt:lpstr>Diapositive 23</vt:lpstr>
      <vt:lpstr>Diapositive 24</vt:lpstr>
      <vt:lpstr>Diapositive 25</vt:lpstr>
      <vt:lpstr>Diapositive 26</vt:lpstr>
      <vt:lpstr>Diapositive 27</vt:lpstr>
      <vt:lpstr>Diapositive 28</vt:lpstr>
      <vt:lpstr>Diapositive 29</vt:lpstr>
      <vt:lpstr>Diapositive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Ilef</dc:creator>
  <cp:lastModifiedBy>win7</cp:lastModifiedBy>
  <cp:revision>1363</cp:revision>
  <dcterms:created xsi:type="dcterms:W3CDTF">2013-06-03T13:58:59Z</dcterms:created>
  <dcterms:modified xsi:type="dcterms:W3CDTF">2018-06-21T09:5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